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slideLayouts/slideLayout113.xml" ContentType="application/vnd.openxmlformats-officedocument.presentationml.slideLayout+xml"/>
  <Override PartName="/ppt/theme/theme8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9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slideLayouts/slideLayout158.xml" ContentType="application/vnd.openxmlformats-officedocument.presentationml.slideLayout+xml"/>
  <Override PartName="/ppt/theme/theme12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3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4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5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16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17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5" r:id="rId1"/>
    <p:sldMasterId id="2147483680" r:id="rId2"/>
    <p:sldMasterId id="2147484079" r:id="rId3"/>
    <p:sldMasterId id="2147484113" r:id="rId4"/>
    <p:sldMasterId id="2147484115" r:id="rId5"/>
    <p:sldMasterId id="2147484150" r:id="rId6"/>
    <p:sldMasterId id="2147484153" r:id="rId7"/>
    <p:sldMasterId id="2147483674" r:id="rId8"/>
    <p:sldMasterId id="2147484196" r:id="rId9"/>
    <p:sldMasterId id="2147484304" r:id="rId10"/>
    <p:sldMasterId id="2147484313" r:id="rId11"/>
    <p:sldMasterId id="2147484054" r:id="rId12"/>
    <p:sldMasterId id="2147484351" r:id="rId13"/>
    <p:sldMasterId id="2147484434" r:id="rId14"/>
    <p:sldMasterId id="2147484489" r:id="rId15"/>
    <p:sldMasterId id="2147484493" r:id="rId16"/>
    <p:sldMasterId id="2147484528" r:id="rId17"/>
    <p:sldMasterId id="2147484562" r:id="rId18"/>
  </p:sldMasterIdLst>
  <p:notesMasterIdLst>
    <p:notesMasterId r:id="rId28"/>
  </p:notesMasterIdLst>
  <p:sldIdLst>
    <p:sldId id="2076138255" r:id="rId19"/>
    <p:sldId id="2147469508" r:id="rId20"/>
    <p:sldId id="2147469267" r:id="rId21"/>
    <p:sldId id="2147469268" r:id="rId22"/>
    <p:sldId id="2147469510" r:id="rId23"/>
    <p:sldId id="2147469273" r:id="rId24"/>
    <p:sldId id="2147469394" r:id="rId25"/>
    <p:sldId id="2147469391" r:id="rId26"/>
    <p:sldId id="2147469513" r:id="rId2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6D86"/>
    <a:srgbClr val="246AA8"/>
    <a:srgbClr val="000000"/>
    <a:srgbClr val="FF66FF"/>
    <a:srgbClr val="18CACE"/>
    <a:srgbClr val="38E4E8"/>
    <a:srgbClr val="8EC89C"/>
    <a:srgbClr val="E0F0E4"/>
    <a:srgbClr val="9328F4"/>
    <a:srgbClr val="F02C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80BDA6-4A64-4941-B767-7D0EFF4BD218}" v="1" dt="2022-10-13T07:19:27.2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070" autoAdjust="0"/>
  </p:normalViewPr>
  <p:slideViewPr>
    <p:cSldViewPr snapToGrid="0">
      <p:cViewPr varScale="1">
        <p:scale>
          <a:sx n="88" d="100"/>
          <a:sy n="88" d="100"/>
        </p:scale>
        <p:origin x="451" y="10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S::urn:spo:anon#a045300d4aa6cfbee690977a5b6dd38e1e5d3ba86eecb3af3e0645d1dbddd4f0::" providerId="AD" clId="Web-{90C0B183-A964-F4EF-CBCF-5AF74478D974}"/>
    <pc:docChg chg="modSld">
      <pc:chgData name="Guest User" userId="S::urn:spo:anon#a045300d4aa6cfbee690977a5b6dd38e1e5d3ba86eecb3af3e0645d1dbddd4f0::" providerId="AD" clId="Web-{90C0B183-A964-F4EF-CBCF-5AF74478D974}" dt="2022-09-20T15:23:04.997" v="1" actId="1076"/>
      <pc:docMkLst>
        <pc:docMk/>
      </pc:docMkLst>
      <pc:sldChg chg="modSp">
        <pc:chgData name="Guest User" userId="S::urn:spo:anon#a045300d4aa6cfbee690977a5b6dd38e1e5d3ba86eecb3af3e0645d1dbddd4f0::" providerId="AD" clId="Web-{90C0B183-A964-F4EF-CBCF-5AF74478D974}" dt="2022-09-20T15:23:04.997" v="1" actId="1076"/>
        <pc:sldMkLst>
          <pc:docMk/>
          <pc:sldMk cId="3074318552" sldId="2147469397"/>
        </pc:sldMkLst>
        <pc:spChg chg="mod">
          <ac:chgData name="Guest User" userId="S::urn:spo:anon#a045300d4aa6cfbee690977a5b6dd38e1e5d3ba86eecb3af3e0645d1dbddd4f0::" providerId="AD" clId="Web-{90C0B183-A964-F4EF-CBCF-5AF74478D974}" dt="2022-09-20T15:23:04.997" v="1" actId="1076"/>
          <ac:spMkLst>
            <pc:docMk/>
            <pc:sldMk cId="3074318552" sldId="2147469397"/>
            <ac:spMk id="4" creationId="{061C584D-04BE-6AC3-8039-C1E7F9323F42}"/>
          </ac:spMkLst>
        </pc:spChg>
      </pc:sldChg>
    </pc:docChg>
  </pc:docChgLst>
  <pc:docChgLst>
    <pc:chgData name="Guy Bankole Eudes" userId="S::guy.bankole@sirionlabs.com::89e89416-d9d1-42a0-95a5-e19558870399" providerId="AD" clId="Web-{7E7DFB6E-08D2-AC51-687C-0C8D4C2DA5DF}"/>
    <pc:docChg chg="modSld">
      <pc:chgData name="Guy Bankole Eudes" userId="S::guy.bankole@sirionlabs.com::89e89416-d9d1-42a0-95a5-e19558870399" providerId="AD" clId="Web-{7E7DFB6E-08D2-AC51-687C-0C8D4C2DA5DF}" dt="2022-05-11T15:12:11.240" v="0" actId="20577"/>
      <pc:docMkLst>
        <pc:docMk/>
      </pc:docMkLst>
      <pc:sldChg chg="modSp">
        <pc:chgData name="Guy Bankole Eudes" userId="S::guy.bankole@sirionlabs.com::89e89416-d9d1-42a0-95a5-e19558870399" providerId="AD" clId="Web-{7E7DFB6E-08D2-AC51-687C-0C8D4C2DA5DF}" dt="2022-05-11T15:12:11.240" v="0" actId="20577"/>
        <pc:sldMkLst>
          <pc:docMk/>
          <pc:sldMk cId="3434891387" sldId="2147375117"/>
        </pc:sldMkLst>
        <pc:spChg chg="mod">
          <ac:chgData name="Guy Bankole Eudes" userId="S::guy.bankole@sirionlabs.com::89e89416-d9d1-42a0-95a5-e19558870399" providerId="AD" clId="Web-{7E7DFB6E-08D2-AC51-687C-0C8D4C2DA5DF}" dt="2022-05-11T15:12:11.240" v="0" actId="20577"/>
          <ac:spMkLst>
            <pc:docMk/>
            <pc:sldMk cId="3434891387" sldId="2147375117"/>
            <ac:spMk id="48" creationId="{FF8DEF63-8E15-1F43-BF82-62C7EE134766}"/>
          </ac:spMkLst>
        </pc:spChg>
      </pc:sldChg>
    </pc:docChg>
  </pc:docChgLst>
  <pc:docChgLst>
    <pc:chgData name="Cyrille Scuri" userId="0ff3ad52-7312-41f1-b45c-1187e0d5d8d9" providerId="ADAL" clId="{1480BDA6-4A64-4941-B767-7D0EFF4BD218}"/>
    <pc:docChg chg="addSld delSld modSld">
      <pc:chgData name="Cyrille Scuri" userId="0ff3ad52-7312-41f1-b45c-1187e0d5d8d9" providerId="ADAL" clId="{1480BDA6-4A64-4941-B767-7D0EFF4BD218}" dt="2022-10-13T07:19:37.416" v="2" actId="47"/>
      <pc:docMkLst>
        <pc:docMk/>
      </pc:docMkLst>
      <pc:sldChg chg="del">
        <pc:chgData name="Cyrille Scuri" userId="0ff3ad52-7312-41f1-b45c-1187e0d5d8d9" providerId="ADAL" clId="{1480BDA6-4A64-4941-B767-7D0EFF4BD218}" dt="2022-10-12T15:09:32.596" v="0" actId="47"/>
        <pc:sldMkLst>
          <pc:docMk/>
          <pc:sldMk cId="1734838540" sldId="2147469342"/>
        </pc:sldMkLst>
      </pc:sldChg>
      <pc:sldChg chg="add del">
        <pc:chgData name="Cyrille Scuri" userId="0ff3ad52-7312-41f1-b45c-1187e0d5d8d9" providerId="ADAL" clId="{1480BDA6-4A64-4941-B767-7D0EFF4BD218}" dt="2022-10-13T07:19:37.416" v="2" actId="47"/>
        <pc:sldMkLst>
          <pc:docMk/>
          <pc:sldMk cId="2803054571" sldId="2147469514"/>
        </pc:sldMkLst>
      </pc:sldChg>
    </pc:docChg>
  </pc:docChgLst>
  <pc:docChgLst>
    <pc:chgData name="Cyrille Scuri" userId="0ff3ad52-7312-41f1-b45c-1187e0d5d8d9" providerId="ADAL" clId="{32CD123D-3778-4AB7-AB91-6EAFB4AF5BAA}"/>
    <pc:docChg chg="undo custSel addSld delSld modSld sldOrd">
      <pc:chgData name="Cyrille Scuri" userId="0ff3ad52-7312-41f1-b45c-1187e0d5d8d9" providerId="ADAL" clId="{32CD123D-3778-4AB7-AB91-6EAFB4AF5BAA}" dt="2022-05-12T18:22:17.074" v="3428" actId="47"/>
      <pc:docMkLst>
        <pc:docMk/>
      </pc:docMkLst>
      <pc:sldChg chg="addSp delSp modSp del mod">
        <pc:chgData name="Cyrille Scuri" userId="0ff3ad52-7312-41f1-b45c-1187e0d5d8d9" providerId="ADAL" clId="{32CD123D-3778-4AB7-AB91-6EAFB4AF5BAA}" dt="2022-05-12T15:53:16.305" v="2494" actId="47"/>
        <pc:sldMkLst>
          <pc:docMk/>
          <pc:sldMk cId="955513777" sldId="1537"/>
        </pc:sldMkLst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1" creationId="{54DD96F5-ED0D-8666-FBDF-107AF7549FE1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2" creationId="{AD016150-EA8B-5275-FEBF-684E2722D7E6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3" creationId="{E4D7CD13-F530-6C5E-CD48-8A33E77B6E01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4" creationId="{0185820C-1BC4-A7CA-19EA-235BB047104F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5" creationId="{C5295238-F300-1AFD-82D9-EC67493CB8C7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6" creationId="{5C386E69-F0AC-4215-2553-3AD0473BF7A0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7" creationId="{1CEB2A15-4651-C621-4C0D-1D3ABD64E759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98" creationId="{3C160ED0-5F5B-275A-A684-E64900B396DD}"/>
          </ac:spMkLst>
        </pc:spChg>
        <pc:spChg chg="del mod">
          <ac:chgData name="Cyrille Scuri" userId="0ff3ad52-7312-41f1-b45c-1187e0d5d8d9" providerId="ADAL" clId="{32CD123D-3778-4AB7-AB91-6EAFB4AF5BAA}" dt="2022-05-12T12:30:07.940" v="110" actId="478"/>
          <ac:spMkLst>
            <pc:docMk/>
            <pc:sldMk cId="955513777" sldId="1537"/>
            <ac:spMk id="99" creationId="{E417BDF9-848B-9B61-B847-EF7F86C67AAB}"/>
          </ac:spMkLst>
        </pc:spChg>
        <pc:spChg chg="mod">
          <ac:chgData name="Cyrille Scuri" userId="0ff3ad52-7312-41f1-b45c-1187e0d5d8d9" providerId="ADAL" clId="{32CD123D-3778-4AB7-AB91-6EAFB4AF5BAA}" dt="2022-05-12T12:30:01.828" v="107"/>
          <ac:spMkLst>
            <pc:docMk/>
            <pc:sldMk cId="955513777" sldId="1537"/>
            <ac:spMk id="100" creationId="{9FC15680-59F9-2428-EE47-864C11532911}"/>
          </ac:spMkLst>
        </pc:spChg>
        <pc:spChg chg="del mod">
          <ac:chgData name="Cyrille Scuri" userId="0ff3ad52-7312-41f1-b45c-1187e0d5d8d9" providerId="ADAL" clId="{32CD123D-3778-4AB7-AB91-6EAFB4AF5BAA}" dt="2022-05-12T12:30:05.885" v="109" actId="478"/>
          <ac:spMkLst>
            <pc:docMk/>
            <pc:sldMk cId="955513777" sldId="1537"/>
            <ac:spMk id="101" creationId="{69F41C35-058D-C393-B559-3E524F02721D}"/>
          </ac:spMkLst>
        </pc:spChg>
        <pc:grpChg chg="del">
          <ac:chgData name="Cyrille Scuri" userId="0ff3ad52-7312-41f1-b45c-1187e0d5d8d9" providerId="ADAL" clId="{32CD123D-3778-4AB7-AB91-6EAFB4AF5BAA}" dt="2022-05-12T12:29:54.493" v="106" actId="478"/>
          <ac:grpSpMkLst>
            <pc:docMk/>
            <pc:sldMk cId="955513777" sldId="1537"/>
            <ac:grpSpMk id="18" creationId="{4FFA4A37-E9AF-4349-AE0D-2BC70FBA9A37}"/>
          </ac:grpSpMkLst>
        </pc:grpChg>
        <pc:grpChg chg="add del mod">
          <ac:chgData name="Cyrille Scuri" userId="0ff3ad52-7312-41f1-b45c-1187e0d5d8d9" providerId="ADAL" clId="{32CD123D-3778-4AB7-AB91-6EAFB4AF5BAA}" dt="2022-05-12T12:30:12.670" v="111" actId="478"/>
          <ac:grpSpMkLst>
            <pc:docMk/>
            <pc:sldMk cId="955513777" sldId="1537"/>
            <ac:grpSpMk id="88" creationId="{CDE31639-489A-0D70-3216-756C0790CF69}"/>
          </ac:grpSpMkLst>
        </pc:grpChg>
        <pc:grpChg chg="mod">
          <ac:chgData name="Cyrille Scuri" userId="0ff3ad52-7312-41f1-b45c-1187e0d5d8d9" providerId="ADAL" clId="{32CD123D-3778-4AB7-AB91-6EAFB4AF5BAA}" dt="2022-05-12T12:30:01.828" v="107"/>
          <ac:grpSpMkLst>
            <pc:docMk/>
            <pc:sldMk cId="955513777" sldId="1537"/>
            <ac:grpSpMk id="90" creationId="{7DD581FC-9BEE-4EC3-A1A4-D2175FEE9DE7}"/>
          </ac:grpSpMkLst>
        </pc:grpChg>
        <pc:picChg chg="add">
          <ac:chgData name="Cyrille Scuri" userId="0ff3ad52-7312-41f1-b45c-1187e0d5d8d9" providerId="ADAL" clId="{32CD123D-3778-4AB7-AB91-6EAFB4AF5BAA}" dt="2022-05-12T12:34:11.059" v="112" actId="22"/>
          <ac:picMkLst>
            <pc:docMk/>
            <pc:sldMk cId="955513777" sldId="1537"/>
            <ac:picMk id="3" creationId="{F902E703-E67F-0E10-01D5-A3A6E67DB281}"/>
          </ac:picMkLst>
        </pc:picChg>
        <pc:picChg chg="mod">
          <ac:chgData name="Cyrille Scuri" userId="0ff3ad52-7312-41f1-b45c-1187e0d5d8d9" providerId="ADAL" clId="{32CD123D-3778-4AB7-AB91-6EAFB4AF5BAA}" dt="2022-05-12T12:30:01.828" v="107"/>
          <ac:picMkLst>
            <pc:docMk/>
            <pc:sldMk cId="955513777" sldId="1537"/>
            <ac:picMk id="89" creationId="{60431149-88AA-9A0C-16E6-CD864E173711}"/>
          </ac:picMkLst>
        </pc:picChg>
        <pc:picChg chg="mod">
          <ac:chgData name="Cyrille Scuri" userId="0ff3ad52-7312-41f1-b45c-1187e0d5d8d9" providerId="ADAL" clId="{32CD123D-3778-4AB7-AB91-6EAFB4AF5BAA}" dt="2022-05-12T12:30:01.828" v="107"/>
          <ac:picMkLst>
            <pc:docMk/>
            <pc:sldMk cId="955513777" sldId="1537"/>
            <ac:picMk id="102" creationId="{40953254-1122-F82D-3522-FA890777A102}"/>
          </ac:picMkLst>
        </pc:picChg>
        <pc:cxnChg chg="mod">
          <ac:chgData name="Cyrille Scuri" userId="0ff3ad52-7312-41f1-b45c-1187e0d5d8d9" providerId="ADAL" clId="{32CD123D-3778-4AB7-AB91-6EAFB4AF5BAA}" dt="2022-05-12T12:29:54.493" v="106" actId="478"/>
          <ac:cxnSpMkLst>
            <pc:docMk/>
            <pc:sldMk cId="955513777" sldId="1537"/>
            <ac:cxnSpMk id="20" creationId="{23A8C987-2574-7A40-9EB2-1B41537A5E1B}"/>
          </ac:cxnSpMkLst>
        </pc:cxnChg>
        <pc:cxnChg chg="mod">
          <ac:chgData name="Cyrille Scuri" userId="0ff3ad52-7312-41f1-b45c-1187e0d5d8d9" providerId="ADAL" clId="{32CD123D-3778-4AB7-AB91-6EAFB4AF5BAA}" dt="2022-05-12T12:29:54.493" v="106" actId="478"/>
          <ac:cxnSpMkLst>
            <pc:docMk/>
            <pc:sldMk cId="955513777" sldId="1537"/>
            <ac:cxnSpMk id="21" creationId="{44D56BD6-0D68-1D4B-957B-CA61499FF3CA}"/>
          </ac:cxnSpMkLst>
        </pc:cxnChg>
        <pc:cxnChg chg="mod">
          <ac:chgData name="Cyrille Scuri" userId="0ff3ad52-7312-41f1-b45c-1187e0d5d8d9" providerId="ADAL" clId="{32CD123D-3778-4AB7-AB91-6EAFB4AF5BAA}" dt="2022-05-12T12:29:54.493" v="106" actId="478"/>
          <ac:cxnSpMkLst>
            <pc:docMk/>
            <pc:sldMk cId="955513777" sldId="1537"/>
            <ac:cxnSpMk id="23" creationId="{AD95588D-B141-984E-8000-B3EFF3CB2A93}"/>
          </ac:cxnSpMkLst>
        </pc:cxnChg>
        <pc:cxnChg chg="mod">
          <ac:chgData name="Cyrille Scuri" userId="0ff3ad52-7312-41f1-b45c-1187e0d5d8d9" providerId="ADAL" clId="{32CD123D-3778-4AB7-AB91-6EAFB4AF5BAA}" dt="2022-05-12T12:29:54.493" v="106" actId="478"/>
          <ac:cxnSpMkLst>
            <pc:docMk/>
            <pc:sldMk cId="955513777" sldId="1537"/>
            <ac:cxnSpMk id="27" creationId="{EB667EEE-EE09-AD41-B21C-87710D2E9EA2}"/>
          </ac:cxnSpMkLst>
        </pc:cxnChg>
        <pc:cxnChg chg="mod">
          <ac:chgData name="Cyrille Scuri" userId="0ff3ad52-7312-41f1-b45c-1187e0d5d8d9" providerId="ADAL" clId="{32CD123D-3778-4AB7-AB91-6EAFB4AF5BAA}" dt="2022-05-12T12:29:54.493" v="106" actId="478"/>
          <ac:cxnSpMkLst>
            <pc:docMk/>
            <pc:sldMk cId="955513777" sldId="1537"/>
            <ac:cxnSpMk id="28" creationId="{EDE14B14-26AA-584C-B80E-1D7FD14EC134}"/>
          </ac:cxnSpMkLst>
        </pc:cxnChg>
      </pc:sldChg>
      <pc:sldChg chg="addSp delSp modSp mod">
        <pc:chgData name="Cyrille Scuri" userId="0ff3ad52-7312-41f1-b45c-1187e0d5d8d9" providerId="ADAL" clId="{32CD123D-3778-4AB7-AB91-6EAFB4AF5BAA}" dt="2022-05-12T16:12:48.648" v="2743" actId="207"/>
        <pc:sldMkLst>
          <pc:docMk/>
          <pc:sldMk cId="1462500275" sldId="3864"/>
        </pc:sldMkLst>
        <pc:spChg chg="add mod">
          <ac:chgData name="Cyrille Scuri" userId="0ff3ad52-7312-41f1-b45c-1187e0d5d8d9" providerId="ADAL" clId="{32CD123D-3778-4AB7-AB91-6EAFB4AF5BAA}" dt="2022-05-12T16:12:42.581" v="2742" actId="207"/>
          <ac:spMkLst>
            <pc:docMk/>
            <pc:sldMk cId="1462500275" sldId="3864"/>
            <ac:spMk id="2" creationId="{46E24CFC-2D97-7BCD-A978-6A45D229D66B}"/>
          </ac:spMkLst>
        </pc:spChg>
        <pc:spChg chg="mod">
          <ac:chgData name="Cyrille Scuri" userId="0ff3ad52-7312-41f1-b45c-1187e0d5d8d9" providerId="ADAL" clId="{32CD123D-3778-4AB7-AB91-6EAFB4AF5BAA}" dt="2022-05-12T16:12:48.648" v="2743" actId="207"/>
          <ac:spMkLst>
            <pc:docMk/>
            <pc:sldMk cId="1462500275" sldId="3864"/>
            <ac:spMk id="18" creationId="{84DF747A-0464-7A41-A7EF-536EEAAB6C12}"/>
          </ac:spMkLst>
        </pc:spChg>
        <pc:spChg chg="mod">
          <ac:chgData name="Cyrille Scuri" userId="0ff3ad52-7312-41f1-b45c-1187e0d5d8d9" providerId="ADAL" clId="{32CD123D-3778-4AB7-AB91-6EAFB4AF5BAA}" dt="2022-05-12T16:12:48.648" v="2743" actId="207"/>
          <ac:spMkLst>
            <pc:docMk/>
            <pc:sldMk cId="1462500275" sldId="3864"/>
            <ac:spMk id="20" creationId="{41516F9B-A7C0-3B43-9E56-CD49C41103D3}"/>
          </ac:spMkLst>
        </pc:spChg>
        <pc:picChg chg="mod">
          <ac:chgData name="Cyrille Scuri" userId="0ff3ad52-7312-41f1-b45c-1187e0d5d8d9" providerId="ADAL" clId="{32CD123D-3778-4AB7-AB91-6EAFB4AF5BAA}" dt="2022-05-12T12:21:36.541" v="45" actId="1035"/>
          <ac:picMkLst>
            <pc:docMk/>
            <pc:sldMk cId="1462500275" sldId="3864"/>
            <ac:picMk id="3" creationId="{0BD10A5F-2202-7D44-9FC3-60165ED3BC6D}"/>
          </ac:picMkLst>
        </pc:picChg>
        <pc:picChg chg="del">
          <ac:chgData name="Cyrille Scuri" userId="0ff3ad52-7312-41f1-b45c-1187e0d5d8d9" providerId="ADAL" clId="{32CD123D-3778-4AB7-AB91-6EAFB4AF5BAA}" dt="2022-05-12T12:21:26.261" v="4" actId="478"/>
          <ac:picMkLst>
            <pc:docMk/>
            <pc:sldMk cId="1462500275" sldId="3864"/>
            <ac:picMk id="9" creationId="{3F2080E2-B202-8EC2-352C-98CA80BFA641}"/>
          </ac:picMkLst>
        </pc:picChg>
        <pc:picChg chg="mod">
          <ac:chgData name="Cyrille Scuri" userId="0ff3ad52-7312-41f1-b45c-1187e0d5d8d9" providerId="ADAL" clId="{32CD123D-3778-4AB7-AB91-6EAFB4AF5BAA}" dt="2022-05-12T12:21:31.920" v="7" actId="1076"/>
          <ac:picMkLst>
            <pc:docMk/>
            <pc:sldMk cId="1462500275" sldId="3864"/>
            <ac:picMk id="22" creationId="{E0797C44-9931-EE44-B7FA-3A9E1773914E}"/>
          </ac:picMkLst>
        </pc:picChg>
        <pc:picChg chg="mod">
          <ac:chgData name="Cyrille Scuri" userId="0ff3ad52-7312-41f1-b45c-1187e0d5d8d9" providerId="ADAL" clId="{32CD123D-3778-4AB7-AB91-6EAFB4AF5BAA}" dt="2022-05-12T12:21:36.541" v="45" actId="1035"/>
          <ac:picMkLst>
            <pc:docMk/>
            <pc:sldMk cId="1462500275" sldId="3864"/>
            <ac:picMk id="26" creationId="{51FE83F1-6A62-1A4C-B187-ED34DB37E1C2}"/>
          </ac:picMkLst>
        </pc:picChg>
      </pc:sldChg>
      <pc:sldChg chg="delSp del mod">
        <pc:chgData name="Cyrille Scuri" userId="0ff3ad52-7312-41f1-b45c-1187e0d5d8d9" providerId="ADAL" clId="{32CD123D-3778-4AB7-AB91-6EAFB4AF5BAA}" dt="2022-05-12T12:24:48.352" v="92" actId="47"/>
        <pc:sldMkLst>
          <pc:docMk/>
          <pc:sldMk cId="3846213955" sldId="10503"/>
        </pc:sldMkLst>
        <pc:picChg chg="del">
          <ac:chgData name="Cyrille Scuri" userId="0ff3ad52-7312-41f1-b45c-1187e0d5d8d9" providerId="ADAL" clId="{32CD123D-3778-4AB7-AB91-6EAFB4AF5BAA}" dt="2022-05-12T12:24:46.488" v="91" actId="478"/>
          <ac:picMkLst>
            <pc:docMk/>
            <pc:sldMk cId="3846213955" sldId="10503"/>
            <ac:picMk id="39" creationId="{1A88FF95-C4E3-2F47-B96D-9EA70BCD8BE3}"/>
          </ac:picMkLst>
        </pc:picChg>
      </pc:sldChg>
      <pc:sldChg chg="delSp modSp mod">
        <pc:chgData name="Cyrille Scuri" userId="0ff3ad52-7312-41f1-b45c-1187e0d5d8d9" providerId="ADAL" clId="{32CD123D-3778-4AB7-AB91-6EAFB4AF5BAA}" dt="2022-05-12T17:42:47.539" v="3135" actId="1076"/>
        <pc:sldMkLst>
          <pc:docMk/>
          <pc:sldMk cId="158698144" sldId="2076138255"/>
        </pc:sldMkLst>
        <pc:spChg chg="mod">
          <ac:chgData name="Cyrille Scuri" userId="0ff3ad52-7312-41f1-b45c-1187e0d5d8d9" providerId="ADAL" clId="{32CD123D-3778-4AB7-AB91-6EAFB4AF5BAA}" dt="2022-05-12T17:42:47.539" v="3135" actId="1076"/>
          <ac:spMkLst>
            <pc:docMk/>
            <pc:sldMk cId="158698144" sldId="2076138255"/>
            <ac:spMk id="8" creationId="{D50DB96D-FB6C-4402-9CBB-39EFDC614E86}"/>
          </ac:spMkLst>
        </pc:spChg>
        <pc:spChg chg="mod">
          <ac:chgData name="Cyrille Scuri" userId="0ff3ad52-7312-41f1-b45c-1187e0d5d8d9" providerId="ADAL" clId="{32CD123D-3778-4AB7-AB91-6EAFB4AF5BAA}" dt="2022-05-12T12:42:11.709" v="195" actId="20577"/>
          <ac:spMkLst>
            <pc:docMk/>
            <pc:sldMk cId="158698144" sldId="2076138255"/>
            <ac:spMk id="9" creationId="{DC19C0F0-2AAD-4B72-9BA6-88ED6DC824C9}"/>
          </ac:spMkLst>
        </pc:spChg>
        <pc:picChg chg="mod">
          <ac:chgData name="Cyrille Scuri" userId="0ff3ad52-7312-41f1-b45c-1187e0d5d8d9" providerId="ADAL" clId="{32CD123D-3778-4AB7-AB91-6EAFB4AF5BAA}" dt="2022-05-12T16:09:47.015" v="2694" actId="1076"/>
          <ac:picMkLst>
            <pc:docMk/>
            <pc:sldMk cId="158698144" sldId="2076138255"/>
            <ac:picMk id="5" creationId="{2E7E8032-4EA0-4542-96D3-7BA53DB3120A}"/>
          </ac:picMkLst>
        </pc:picChg>
        <pc:picChg chg="mod">
          <ac:chgData name="Cyrille Scuri" userId="0ff3ad52-7312-41f1-b45c-1187e0d5d8d9" providerId="ADAL" clId="{32CD123D-3778-4AB7-AB91-6EAFB4AF5BAA}" dt="2022-05-12T16:11:56.803" v="2739" actId="14100"/>
          <ac:picMkLst>
            <pc:docMk/>
            <pc:sldMk cId="158698144" sldId="2076138255"/>
            <ac:picMk id="1026" creationId="{F55EBC79-755A-9142-974C-9609834FF432}"/>
          </ac:picMkLst>
        </pc:picChg>
        <pc:picChg chg="del">
          <ac:chgData name="Cyrille Scuri" userId="0ff3ad52-7312-41f1-b45c-1187e0d5d8d9" providerId="ADAL" clId="{32CD123D-3778-4AB7-AB91-6EAFB4AF5BAA}" dt="2022-05-12T12:21:16.981" v="0" actId="478"/>
          <ac:picMkLst>
            <pc:docMk/>
            <pc:sldMk cId="158698144" sldId="2076138255"/>
            <ac:picMk id="173060" creationId="{06CF6BAB-4CFC-B2E7-36AE-A4BEA899E118}"/>
          </ac:picMkLst>
        </pc:picChg>
        <pc:cxnChg chg="mod">
          <ac:chgData name="Cyrille Scuri" userId="0ff3ad52-7312-41f1-b45c-1187e0d5d8d9" providerId="ADAL" clId="{32CD123D-3778-4AB7-AB91-6EAFB4AF5BAA}" dt="2022-05-12T16:12:07.054" v="2741" actId="1076"/>
          <ac:cxnSpMkLst>
            <pc:docMk/>
            <pc:sldMk cId="158698144" sldId="2076138255"/>
            <ac:cxnSpMk id="7" creationId="{480262C8-EE43-44C5-8CF1-7055F6DF8990}"/>
          </ac:cxnSpMkLst>
        </pc:cxnChg>
      </pc:sldChg>
      <pc:sldChg chg="addSp delSp modSp add del mod">
        <pc:chgData name="Cyrille Scuri" userId="0ff3ad52-7312-41f1-b45c-1187e0d5d8d9" providerId="ADAL" clId="{32CD123D-3778-4AB7-AB91-6EAFB4AF5BAA}" dt="2022-05-12T15:43:51.891" v="2128" actId="47"/>
        <pc:sldMkLst>
          <pc:docMk/>
          <pc:sldMk cId="2281612651" sldId="2076138260"/>
        </pc:sldMkLst>
        <pc:spChg chg="del">
          <ac:chgData name="Cyrille Scuri" userId="0ff3ad52-7312-41f1-b45c-1187e0d5d8d9" providerId="ADAL" clId="{32CD123D-3778-4AB7-AB91-6EAFB4AF5BAA}" dt="2022-05-12T15:01:00.549" v="1071" actId="478"/>
          <ac:spMkLst>
            <pc:docMk/>
            <pc:sldMk cId="2281612651" sldId="2076138260"/>
            <ac:spMk id="72" creationId="{A112BC67-AA55-154F-B882-F83D70ACEA41}"/>
          </ac:spMkLst>
        </pc:spChg>
        <pc:grpChg chg="add del">
          <ac:chgData name="Cyrille Scuri" userId="0ff3ad52-7312-41f1-b45c-1187e0d5d8d9" providerId="ADAL" clId="{32CD123D-3778-4AB7-AB91-6EAFB4AF5BAA}" dt="2022-05-12T15:01:13.969" v="1072" actId="165"/>
          <ac:grpSpMkLst>
            <pc:docMk/>
            <pc:sldMk cId="2281612651" sldId="2076138260"/>
            <ac:grpSpMk id="92" creationId="{AC4345E4-B347-AF48-90C3-09D81EC01E77}"/>
          </ac:grpSpMkLst>
        </pc:grpChg>
        <pc:picChg chg="mod topLvl">
          <ac:chgData name="Cyrille Scuri" userId="0ff3ad52-7312-41f1-b45c-1187e0d5d8d9" providerId="ADAL" clId="{32CD123D-3778-4AB7-AB91-6EAFB4AF5BAA}" dt="2022-05-12T15:27:46.622" v="1769" actId="1076"/>
          <ac:picMkLst>
            <pc:docMk/>
            <pc:sldMk cId="2281612651" sldId="2076138260"/>
            <ac:picMk id="93" creationId="{1AF19BD9-E088-FD4F-8425-CFCBF3494AA8}"/>
          </ac:picMkLst>
        </pc:picChg>
        <pc:picChg chg="mod topLvl">
          <ac:chgData name="Cyrille Scuri" userId="0ff3ad52-7312-41f1-b45c-1187e0d5d8d9" providerId="ADAL" clId="{32CD123D-3778-4AB7-AB91-6EAFB4AF5BAA}" dt="2022-05-12T15:01:13.969" v="1072" actId="165"/>
          <ac:picMkLst>
            <pc:docMk/>
            <pc:sldMk cId="2281612651" sldId="2076138260"/>
            <ac:picMk id="97" creationId="{82145B78-23B4-C944-AD1F-9839DBC944F4}"/>
          </ac:picMkLst>
        </pc:picChg>
        <pc:picChg chg="mod topLvl">
          <ac:chgData name="Cyrille Scuri" userId="0ff3ad52-7312-41f1-b45c-1187e0d5d8d9" providerId="ADAL" clId="{32CD123D-3778-4AB7-AB91-6EAFB4AF5BAA}" dt="2022-05-12T15:27:44.304" v="1768" actId="1076"/>
          <ac:picMkLst>
            <pc:docMk/>
            <pc:sldMk cId="2281612651" sldId="2076138260"/>
            <ac:picMk id="98" creationId="{5C3C6F02-1D11-4048-9815-5DE2D4AEC6D8}"/>
          </ac:picMkLst>
        </pc:picChg>
        <pc:picChg chg="mod topLvl">
          <ac:chgData name="Cyrille Scuri" userId="0ff3ad52-7312-41f1-b45c-1187e0d5d8d9" providerId="ADAL" clId="{32CD123D-3778-4AB7-AB91-6EAFB4AF5BAA}" dt="2022-05-12T15:01:13.969" v="1072" actId="165"/>
          <ac:picMkLst>
            <pc:docMk/>
            <pc:sldMk cId="2281612651" sldId="2076138260"/>
            <ac:picMk id="99" creationId="{32474178-88BA-F245-89E1-F21CCD735DEE}"/>
          </ac:picMkLst>
        </pc:picChg>
        <pc:picChg chg="mod topLvl">
          <ac:chgData name="Cyrille Scuri" userId="0ff3ad52-7312-41f1-b45c-1187e0d5d8d9" providerId="ADAL" clId="{32CD123D-3778-4AB7-AB91-6EAFB4AF5BAA}" dt="2022-05-12T15:27:55.894" v="1770" actId="1076"/>
          <ac:picMkLst>
            <pc:docMk/>
            <pc:sldMk cId="2281612651" sldId="2076138260"/>
            <ac:picMk id="100" creationId="{35B6D468-2237-E04A-8659-7AF1D93A2365}"/>
          </ac:picMkLst>
        </pc:picChg>
      </pc:sldChg>
      <pc:sldChg chg="add">
        <pc:chgData name="Cyrille Scuri" userId="0ff3ad52-7312-41f1-b45c-1187e0d5d8d9" providerId="ADAL" clId="{32CD123D-3778-4AB7-AB91-6EAFB4AF5BAA}" dt="2022-05-12T18:22:13.971" v="3427"/>
        <pc:sldMkLst>
          <pc:docMk/>
          <pc:sldMk cId="408108823" sldId="2147374843"/>
        </pc:sldMkLst>
      </pc:sldChg>
      <pc:sldChg chg="del">
        <pc:chgData name="Cyrille Scuri" userId="0ff3ad52-7312-41f1-b45c-1187e0d5d8d9" providerId="ADAL" clId="{32CD123D-3778-4AB7-AB91-6EAFB4AF5BAA}" dt="2022-05-12T15:59:07.352" v="2577" actId="47"/>
        <pc:sldMkLst>
          <pc:docMk/>
          <pc:sldMk cId="333189864" sldId="2147374850"/>
        </pc:sldMkLst>
      </pc:sldChg>
      <pc:sldChg chg="del">
        <pc:chgData name="Cyrille Scuri" userId="0ff3ad52-7312-41f1-b45c-1187e0d5d8d9" providerId="ADAL" clId="{32CD123D-3778-4AB7-AB91-6EAFB4AF5BAA}" dt="2022-05-12T12:24:14.338" v="90" actId="47"/>
        <pc:sldMkLst>
          <pc:docMk/>
          <pc:sldMk cId="1908471063" sldId="2147374869"/>
        </pc:sldMkLst>
      </pc:sldChg>
      <pc:sldChg chg="addSp delSp modSp mod modAnim">
        <pc:chgData name="Cyrille Scuri" userId="0ff3ad52-7312-41f1-b45c-1187e0d5d8d9" providerId="ADAL" clId="{32CD123D-3778-4AB7-AB91-6EAFB4AF5BAA}" dt="2022-05-12T18:18:51.462" v="3335" actId="20577"/>
        <pc:sldMkLst>
          <pc:docMk/>
          <pc:sldMk cId="605296940" sldId="2147374993"/>
        </pc:sldMkLst>
        <pc:spChg chg="add del">
          <ac:chgData name="Cyrille Scuri" userId="0ff3ad52-7312-41f1-b45c-1187e0d5d8d9" providerId="ADAL" clId="{32CD123D-3778-4AB7-AB91-6EAFB4AF5BAA}" dt="2022-05-12T16:14:18.106" v="2810" actId="11529"/>
          <ac:spMkLst>
            <pc:docMk/>
            <pc:sldMk cId="605296940" sldId="2147374993"/>
            <ac:spMk id="2" creationId="{80DF2632-E994-78EC-1AD1-45FA986E8FCA}"/>
          </ac:spMkLst>
        </pc:spChg>
        <pc:spChg chg="mod">
          <ac:chgData name="Cyrille Scuri" userId="0ff3ad52-7312-41f1-b45c-1187e0d5d8d9" providerId="ADAL" clId="{32CD123D-3778-4AB7-AB91-6EAFB4AF5BAA}" dt="2022-05-12T16:02:59.780" v="2664" actId="20577"/>
          <ac:spMkLst>
            <pc:docMk/>
            <pc:sldMk cId="605296940" sldId="2147374993"/>
            <ac:spMk id="19" creationId="{5495507B-9698-E4B2-B4C7-9A71302C6479}"/>
          </ac:spMkLst>
        </pc:spChg>
        <pc:spChg chg="mod">
          <ac:chgData name="Cyrille Scuri" userId="0ff3ad52-7312-41f1-b45c-1187e0d5d8d9" providerId="ADAL" clId="{32CD123D-3778-4AB7-AB91-6EAFB4AF5BAA}" dt="2022-05-12T16:06:05.319" v="2689" actId="20577"/>
          <ac:spMkLst>
            <pc:docMk/>
            <pc:sldMk cId="605296940" sldId="2147374993"/>
            <ac:spMk id="20" creationId="{1C6CFFA9-0A69-9D31-637F-714419DC03DD}"/>
          </ac:spMkLst>
        </pc:spChg>
        <pc:spChg chg="add mod">
          <ac:chgData name="Cyrille Scuri" userId="0ff3ad52-7312-41f1-b45c-1187e0d5d8d9" providerId="ADAL" clId="{32CD123D-3778-4AB7-AB91-6EAFB4AF5BAA}" dt="2022-05-12T16:15:51.664" v="2840" actId="1035"/>
          <ac:spMkLst>
            <pc:docMk/>
            <pc:sldMk cId="605296940" sldId="2147374993"/>
            <ac:spMk id="21" creationId="{20C9DAB5-BD77-BE4C-9769-B08A40658135}"/>
          </ac:spMkLst>
        </pc:spChg>
        <pc:spChg chg="mod">
          <ac:chgData name="Cyrille Scuri" userId="0ff3ad52-7312-41f1-b45c-1187e0d5d8d9" providerId="ADAL" clId="{32CD123D-3778-4AB7-AB91-6EAFB4AF5BAA}" dt="2022-05-12T16:02:53.136" v="2662" actId="20577"/>
          <ac:spMkLst>
            <pc:docMk/>
            <pc:sldMk cId="605296940" sldId="2147374993"/>
            <ac:spMk id="22" creationId="{07D49F20-7A49-C178-58FD-47859236C5CF}"/>
          </ac:spMkLst>
        </pc:spChg>
        <pc:spChg chg="add mod">
          <ac:chgData name="Cyrille Scuri" userId="0ff3ad52-7312-41f1-b45c-1187e0d5d8d9" providerId="ADAL" clId="{32CD123D-3778-4AB7-AB91-6EAFB4AF5BAA}" dt="2022-05-12T16:16:44.188" v="2950" actId="1036"/>
          <ac:spMkLst>
            <pc:docMk/>
            <pc:sldMk cId="605296940" sldId="2147374993"/>
            <ac:spMk id="23" creationId="{1B26628E-70BB-7308-18D1-2D94052BFFFC}"/>
          </ac:spMkLst>
        </pc:spChg>
        <pc:spChg chg="add mod">
          <ac:chgData name="Cyrille Scuri" userId="0ff3ad52-7312-41f1-b45c-1187e0d5d8d9" providerId="ADAL" clId="{32CD123D-3778-4AB7-AB91-6EAFB4AF5BAA}" dt="2022-05-12T18:18:51.462" v="3335" actId="20577"/>
          <ac:spMkLst>
            <pc:docMk/>
            <pc:sldMk cId="605296940" sldId="2147374993"/>
            <ac:spMk id="24" creationId="{C2422AF2-00CC-8428-AF09-D2DEA2273886}"/>
          </ac:spMkLst>
        </pc:spChg>
        <pc:spChg chg="mod">
          <ac:chgData name="Cyrille Scuri" userId="0ff3ad52-7312-41f1-b45c-1187e0d5d8d9" providerId="ADAL" clId="{32CD123D-3778-4AB7-AB91-6EAFB4AF5BAA}" dt="2022-05-12T16:13:40.200" v="2808" actId="20577"/>
          <ac:spMkLst>
            <pc:docMk/>
            <pc:sldMk cId="605296940" sldId="2147374993"/>
            <ac:spMk id="48" creationId="{FF8DEF63-8E15-1F43-BF82-62C7EE134766}"/>
          </ac:spMkLst>
        </pc:spChg>
        <pc:picChg chg="del">
          <ac:chgData name="Cyrille Scuri" userId="0ff3ad52-7312-41f1-b45c-1187e0d5d8d9" providerId="ADAL" clId="{32CD123D-3778-4AB7-AB91-6EAFB4AF5BAA}" dt="2022-05-12T12:41:42.028" v="190" actId="478"/>
          <ac:picMkLst>
            <pc:docMk/>
            <pc:sldMk cId="605296940" sldId="2147374993"/>
            <ac:picMk id="21" creationId="{3452B25C-4B8A-A47C-3B5B-41416231DEE5}"/>
          </ac:picMkLst>
        </pc:picChg>
      </pc:sldChg>
      <pc:sldChg chg="del">
        <pc:chgData name="Cyrille Scuri" userId="0ff3ad52-7312-41f1-b45c-1187e0d5d8d9" providerId="ADAL" clId="{32CD123D-3778-4AB7-AB91-6EAFB4AF5BAA}" dt="2022-05-12T16:02:39.338" v="2660" actId="47"/>
        <pc:sldMkLst>
          <pc:docMk/>
          <pc:sldMk cId="3014992640" sldId="2147375002"/>
        </pc:sldMkLst>
      </pc:sldChg>
      <pc:sldChg chg="del">
        <pc:chgData name="Cyrille Scuri" userId="0ff3ad52-7312-41f1-b45c-1187e0d5d8d9" providerId="ADAL" clId="{32CD123D-3778-4AB7-AB91-6EAFB4AF5BAA}" dt="2022-05-12T16:02:40.390" v="2661" actId="47"/>
        <pc:sldMkLst>
          <pc:docMk/>
          <pc:sldMk cId="4127085353" sldId="2147375003"/>
        </pc:sldMkLst>
      </pc:sldChg>
      <pc:sldChg chg="delSp modSp mod modNotesTx">
        <pc:chgData name="Cyrille Scuri" userId="0ff3ad52-7312-41f1-b45c-1187e0d5d8d9" providerId="ADAL" clId="{32CD123D-3778-4AB7-AB91-6EAFB4AF5BAA}" dt="2022-05-12T16:18:24.274" v="3014" actId="1076"/>
        <pc:sldMkLst>
          <pc:docMk/>
          <pc:sldMk cId="618692422" sldId="2147375113"/>
        </pc:sldMkLst>
        <pc:spChg chg="mod">
          <ac:chgData name="Cyrille Scuri" userId="0ff3ad52-7312-41f1-b45c-1187e0d5d8d9" providerId="ADAL" clId="{32CD123D-3778-4AB7-AB91-6EAFB4AF5BAA}" dt="2022-05-12T16:18:24.274" v="3014" actId="1076"/>
          <ac:spMkLst>
            <pc:docMk/>
            <pc:sldMk cId="618692422" sldId="2147375113"/>
            <ac:spMk id="41" creationId="{65206C39-54F5-854C-5A8C-312BEDEC2FD0}"/>
          </ac:spMkLst>
        </pc:spChg>
        <pc:spChg chg="mod">
          <ac:chgData name="Cyrille Scuri" userId="0ff3ad52-7312-41f1-b45c-1187e0d5d8d9" providerId="ADAL" clId="{32CD123D-3778-4AB7-AB91-6EAFB4AF5BAA}" dt="2022-05-12T16:03:04.522" v="2665" actId="20577"/>
          <ac:spMkLst>
            <pc:docMk/>
            <pc:sldMk cId="618692422" sldId="2147375113"/>
            <ac:spMk id="48" creationId="{FF8DEF63-8E15-1F43-BF82-62C7EE134766}"/>
          </ac:spMkLst>
        </pc:spChg>
        <pc:picChg chg="del">
          <ac:chgData name="Cyrille Scuri" userId="0ff3ad52-7312-41f1-b45c-1187e0d5d8d9" providerId="ADAL" clId="{32CD123D-3778-4AB7-AB91-6EAFB4AF5BAA}" dt="2022-05-12T12:41:39.882" v="189" actId="478"/>
          <ac:picMkLst>
            <pc:docMk/>
            <pc:sldMk cId="618692422" sldId="2147375113"/>
            <ac:picMk id="31" creationId="{52B22D01-8558-D907-05CE-B5D84A6AED1E}"/>
          </ac:picMkLst>
        </pc:picChg>
      </pc:sldChg>
      <pc:sldChg chg="delSp modSp mod ord">
        <pc:chgData name="Cyrille Scuri" userId="0ff3ad52-7312-41f1-b45c-1187e0d5d8d9" providerId="ADAL" clId="{32CD123D-3778-4AB7-AB91-6EAFB4AF5BAA}" dt="2022-05-12T16:03:25.897" v="2671"/>
        <pc:sldMkLst>
          <pc:docMk/>
          <pc:sldMk cId="654889526" sldId="2147375114"/>
        </pc:sldMkLst>
        <pc:spChg chg="mod">
          <ac:chgData name="Cyrille Scuri" userId="0ff3ad52-7312-41f1-b45c-1187e0d5d8d9" providerId="ADAL" clId="{32CD123D-3778-4AB7-AB91-6EAFB4AF5BAA}" dt="2022-05-12T16:03:22.384" v="2669" actId="20577"/>
          <ac:spMkLst>
            <pc:docMk/>
            <pc:sldMk cId="654889526" sldId="2147375114"/>
            <ac:spMk id="48" creationId="{FF8DEF63-8E15-1F43-BF82-62C7EE134766}"/>
          </ac:spMkLst>
        </pc:spChg>
        <pc:picChg chg="del">
          <ac:chgData name="Cyrille Scuri" userId="0ff3ad52-7312-41f1-b45c-1187e0d5d8d9" providerId="ADAL" clId="{32CD123D-3778-4AB7-AB91-6EAFB4AF5BAA}" dt="2022-05-12T12:41:50.298" v="193" actId="478"/>
          <ac:picMkLst>
            <pc:docMk/>
            <pc:sldMk cId="654889526" sldId="2147375114"/>
            <ac:picMk id="13" creationId="{E2F6EE2C-8F98-2EFA-3EA5-7AA964C180E4}"/>
          </ac:picMkLst>
        </pc:picChg>
      </pc:sldChg>
      <pc:sldChg chg="delSp modSp mod">
        <pc:chgData name="Cyrille Scuri" userId="0ff3ad52-7312-41f1-b45c-1187e0d5d8d9" providerId="ADAL" clId="{32CD123D-3778-4AB7-AB91-6EAFB4AF5BAA}" dt="2022-05-12T16:03:14.465" v="2666" actId="20577"/>
        <pc:sldMkLst>
          <pc:docMk/>
          <pc:sldMk cId="3434891387" sldId="2147375117"/>
        </pc:sldMkLst>
        <pc:spChg chg="mod">
          <ac:chgData name="Cyrille Scuri" userId="0ff3ad52-7312-41f1-b45c-1187e0d5d8d9" providerId="ADAL" clId="{32CD123D-3778-4AB7-AB91-6EAFB4AF5BAA}" dt="2022-05-12T16:03:14.465" v="2666" actId="20577"/>
          <ac:spMkLst>
            <pc:docMk/>
            <pc:sldMk cId="3434891387" sldId="2147375117"/>
            <ac:spMk id="48" creationId="{FF8DEF63-8E15-1F43-BF82-62C7EE134766}"/>
          </ac:spMkLst>
        </pc:spChg>
        <pc:picChg chg="del">
          <ac:chgData name="Cyrille Scuri" userId="0ff3ad52-7312-41f1-b45c-1187e0d5d8d9" providerId="ADAL" clId="{32CD123D-3778-4AB7-AB91-6EAFB4AF5BAA}" dt="2022-05-12T12:41:46.350" v="192" actId="478"/>
          <ac:picMkLst>
            <pc:docMk/>
            <pc:sldMk cId="3434891387" sldId="2147375117"/>
            <ac:picMk id="13" creationId="{F56E673F-3AE5-C70F-53C0-2FAFA545B029}"/>
          </ac:picMkLst>
        </pc:picChg>
      </pc:sldChg>
      <pc:sldChg chg="del">
        <pc:chgData name="Cyrille Scuri" userId="0ff3ad52-7312-41f1-b45c-1187e0d5d8d9" providerId="ADAL" clId="{32CD123D-3778-4AB7-AB91-6EAFB4AF5BAA}" dt="2022-05-12T16:02:38.615" v="2659" actId="47"/>
        <pc:sldMkLst>
          <pc:docMk/>
          <pc:sldMk cId="2802063690" sldId="2147469259"/>
        </pc:sldMkLst>
      </pc:sldChg>
      <pc:sldChg chg="delSp modSp mod ord">
        <pc:chgData name="Cyrille Scuri" userId="0ff3ad52-7312-41f1-b45c-1187e0d5d8d9" providerId="ADAL" clId="{32CD123D-3778-4AB7-AB91-6EAFB4AF5BAA}" dt="2022-05-12T15:59:29.265" v="2578" actId="207"/>
        <pc:sldMkLst>
          <pc:docMk/>
          <pc:sldMk cId="125119581" sldId="2147469260"/>
        </pc:sldMkLst>
        <pc:spChg chg="mod">
          <ac:chgData name="Cyrille Scuri" userId="0ff3ad52-7312-41f1-b45c-1187e0d5d8d9" providerId="ADAL" clId="{32CD123D-3778-4AB7-AB91-6EAFB4AF5BAA}" dt="2022-05-12T15:59:29.265" v="2578" actId="207"/>
          <ac:spMkLst>
            <pc:docMk/>
            <pc:sldMk cId="125119581" sldId="2147469260"/>
            <ac:spMk id="48" creationId="{FF8DEF63-8E15-1F43-BF82-62C7EE134766}"/>
          </ac:spMkLst>
        </pc:spChg>
        <pc:picChg chg="del">
          <ac:chgData name="Cyrille Scuri" userId="0ff3ad52-7312-41f1-b45c-1187e0d5d8d9" providerId="ADAL" clId="{32CD123D-3778-4AB7-AB91-6EAFB4AF5BAA}" dt="2022-05-12T12:21:19.712" v="1" actId="478"/>
          <ac:picMkLst>
            <pc:docMk/>
            <pc:sldMk cId="125119581" sldId="2147469260"/>
            <ac:picMk id="60" creationId="{25F95C4D-AEE0-162D-D6ED-5E7B2CA2AAEC}"/>
          </ac:picMkLst>
        </pc:picChg>
      </pc:sldChg>
      <pc:sldChg chg="del">
        <pc:chgData name="Cyrille Scuri" userId="0ff3ad52-7312-41f1-b45c-1187e0d5d8d9" providerId="ADAL" clId="{32CD123D-3778-4AB7-AB91-6EAFB4AF5BAA}" dt="2022-05-12T12:21:24.916" v="3" actId="47"/>
        <pc:sldMkLst>
          <pc:docMk/>
          <pc:sldMk cId="322557089" sldId="2147469261"/>
        </pc:sldMkLst>
      </pc:sldChg>
      <pc:sldChg chg="addSp delSp modSp new del mod">
        <pc:chgData name="Cyrille Scuri" userId="0ff3ad52-7312-41f1-b45c-1187e0d5d8d9" providerId="ADAL" clId="{32CD123D-3778-4AB7-AB91-6EAFB4AF5BAA}" dt="2022-05-12T12:44:52.018" v="223" actId="47"/>
        <pc:sldMkLst>
          <pc:docMk/>
          <pc:sldMk cId="3340800198" sldId="2147469261"/>
        </pc:sldMkLst>
        <pc:spChg chg="add del">
          <ac:chgData name="Cyrille Scuri" userId="0ff3ad52-7312-41f1-b45c-1187e0d5d8d9" providerId="ADAL" clId="{32CD123D-3778-4AB7-AB91-6EAFB4AF5BAA}" dt="2022-05-12T12:37:54.679" v="142" actId="22"/>
          <ac:spMkLst>
            <pc:docMk/>
            <pc:sldMk cId="3340800198" sldId="2147469261"/>
            <ac:spMk id="3" creationId="{E987F49E-B263-D08E-FB40-7ABC120C8137}"/>
          </ac:spMkLst>
        </pc:spChg>
        <pc:spChg chg="add del mod">
          <ac:chgData name="Cyrille Scuri" userId="0ff3ad52-7312-41f1-b45c-1187e0d5d8d9" providerId="ADAL" clId="{32CD123D-3778-4AB7-AB91-6EAFB4AF5BAA}" dt="2022-05-12T12:39:28.244" v="148"/>
          <ac:spMkLst>
            <pc:docMk/>
            <pc:sldMk cId="3340800198" sldId="2147469261"/>
            <ac:spMk id="5" creationId="{A2E6AC22-F451-CD3B-067E-D4B48035BE70}"/>
          </ac:spMkLst>
        </pc:spChg>
        <pc:spChg chg="add mod">
          <ac:chgData name="Cyrille Scuri" userId="0ff3ad52-7312-41f1-b45c-1187e0d5d8d9" providerId="ADAL" clId="{32CD123D-3778-4AB7-AB91-6EAFB4AF5BAA}" dt="2022-05-12T12:41:31.214" v="187" actId="1076"/>
          <ac:spMkLst>
            <pc:docMk/>
            <pc:sldMk cId="3340800198" sldId="2147469261"/>
            <ac:spMk id="6" creationId="{E7D50BEB-1E5E-7E10-C7CD-B1270B13E6ED}"/>
          </ac:spMkLst>
        </pc:spChg>
        <pc:picChg chg="add del mod">
          <ac:chgData name="Cyrille Scuri" userId="0ff3ad52-7312-41f1-b45c-1187e0d5d8d9" providerId="ADAL" clId="{32CD123D-3778-4AB7-AB91-6EAFB4AF5BAA}" dt="2022-05-12T12:44:17.538" v="209" actId="478"/>
          <ac:picMkLst>
            <pc:docMk/>
            <pc:sldMk cId="3340800198" sldId="2147469261"/>
            <ac:picMk id="173058" creationId="{BD70E009-4161-6CA8-B885-4F3201C2AC30}"/>
          </ac:picMkLst>
        </pc:picChg>
        <pc:picChg chg="add mod">
          <ac:chgData name="Cyrille Scuri" userId="0ff3ad52-7312-41f1-b45c-1187e0d5d8d9" providerId="ADAL" clId="{32CD123D-3778-4AB7-AB91-6EAFB4AF5BAA}" dt="2022-05-12T12:44:32.061" v="216"/>
          <ac:picMkLst>
            <pc:docMk/>
            <pc:sldMk cId="3340800198" sldId="2147469261"/>
            <ac:picMk id="173060" creationId="{0DF7D625-FF37-1C2D-63A3-280096935413}"/>
          </ac:picMkLst>
        </pc:picChg>
      </pc:sldChg>
      <pc:sldChg chg="addSp delSp modSp new del mod ord">
        <pc:chgData name="Cyrille Scuri" userId="0ff3ad52-7312-41f1-b45c-1187e0d5d8d9" providerId="ADAL" clId="{32CD123D-3778-4AB7-AB91-6EAFB4AF5BAA}" dt="2022-05-12T15:51:18.050" v="2372" actId="47"/>
        <pc:sldMkLst>
          <pc:docMk/>
          <pc:sldMk cId="1064603985" sldId="2147469262"/>
        </pc:sldMkLst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2" creationId="{39B3AC21-6AE6-E8A9-B2FE-23FDBF4EF6B0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3" creationId="{0787C96C-BDA3-246F-C960-3995C2102FFC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4" creationId="{B3B5F3F6-F4C8-95D9-009C-7D2FD7373C0A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5" creationId="{691BE701-41DA-22BA-4541-1C82DEC7233C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6" creationId="{D9146259-5CE6-90E3-B951-31D5599E0FFA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7" creationId="{78D4D9BE-CEBA-338E-189C-5350D8B48CDB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8" creationId="{FC5BF6BE-8C95-65D0-5F31-0D847D1D448C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9" creationId="{C0238913-71A8-5152-A0D8-D72573542919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10" creationId="{15FC17B9-559B-9759-4573-D55F37238C2F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11" creationId="{91A997AA-B664-B225-A046-F3C40DD184F8}"/>
          </ac:spMkLst>
        </pc:spChg>
        <pc:spChg chg="del">
          <ac:chgData name="Cyrille Scuri" userId="0ff3ad52-7312-41f1-b45c-1187e0d5d8d9" providerId="ADAL" clId="{32CD123D-3778-4AB7-AB91-6EAFB4AF5BAA}" dt="2022-05-12T12:23:45.916" v="82" actId="478"/>
          <ac:spMkLst>
            <pc:docMk/>
            <pc:sldMk cId="1064603985" sldId="2147469262"/>
            <ac:spMk id="12" creationId="{EE448272-CEF7-67DE-3ACB-FF27A5312EF5}"/>
          </ac:spMkLst>
        </pc:spChg>
        <pc:spChg chg="add mod">
          <ac:chgData name="Cyrille Scuri" userId="0ff3ad52-7312-41f1-b45c-1187e0d5d8d9" providerId="ADAL" clId="{32CD123D-3778-4AB7-AB91-6EAFB4AF5BAA}" dt="2022-05-12T12:23:51.634" v="83"/>
          <ac:spMkLst>
            <pc:docMk/>
            <pc:sldMk cId="1064603985" sldId="2147469262"/>
            <ac:spMk id="14" creationId="{A2C4E225-EEA1-9B42-8764-8F3EDDC2D192}"/>
          </ac:spMkLst>
        </pc:spChg>
        <pc:spChg chg="add mod">
          <ac:chgData name="Cyrille Scuri" userId="0ff3ad52-7312-41f1-b45c-1187e0d5d8d9" providerId="ADAL" clId="{32CD123D-3778-4AB7-AB91-6EAFB4AF5BAA}" dt="2022-05-12T12:24:01.352" v="84"/>
          <ac:spMkLst>
            <pc:docMk/>
            <pc:sldMk cId="1064603985" sldId="2147469262"/>
            <ac:spMk id="15" creationId="{74F0DFAC-6BA0-1A0A-03FF-C2962B11F270}"/>
          </ac:spMkLst>
        </pc:spChg>
        <pc:picChg chg="add mod">
          <ac:chgData name="Cyrille Scuri" userId="0ff3ad52-7312-41f1-b45c-1187e0d5d8d9" providerId="ADAL" clId="{32CD123D-3778-4AB7-AB91-6EAFB4AF5BAA}" dt="2022-05-12T12:23:51.634" v="83"/>
          <ac:picMkLst>
            <pc:docMk/>
            <pc:sldMk cId="1064603985" sldId="2147469262"/>
            <ac:picMk id="13" creationId="{E3D87B8E-4AD0-39B1-02A3-244C04908703}"/>
          </ac:picMkLst>
        </pc:picChg>
      </pc:sldChg>
      <pc:sldChg chg="del">
        <pc:chgData name="Cyrille Scuri" userId="0ff3ad52-7312-41f1-b45c-1187e0d5d8d9" providerId="ADAL" clId="{32CD123D-3778-4AB7-AB91-6EAFB4AF5BAA}" dt="2022-05-12T12:21:22.031" v="2" actId="47"/>
        <pc:sldMkLst>
          <pc:docMk/>
          <pc:sldMk cId="3639388620" sldId="2147469262"/>
        </pc:sldMkLst>
      </pc:sldChg>
      <pc:sldChg chg="addSp delSp modSp add del mod ord">
        <pc:chgData name="Cyrille Scuri" userId="0ff3ad52-7312-41f1-b45c-1187e0d5d8d9" providerId="ADAL" clId="{32CD123D-3778-4AB7-AB91-6EAFB4AF5BAA}" dt="2022-05-12T14:57:55.432" v="1043" actId="47"/>
        <pc:sldMkLst>
          <pc:docMk/>
          <pc:sldMk cId="3504303499" sldId="2147469263"/>
        </pc:sldMkLst>
        <pc:spChg chg="add del mod">
          <ac:chgData name="Cyrille Scuri" userId="0ff3ad52-7312-41f1-b45c-1187e0d5d8d9" providerId="ADAL" clId="{32CD123D-3778-4AB7-AB91-6EAFB4AF5BAA}" dt="2022-05-12T12:47:26.193" v="224" actId="478"/>
          <ac:spMkLst>
            <pc:docMk/>
            <pc:sldMk cId="3504303499" sldId="2147469263"/>
            <ac:spMk id="2" creationId="{0C7B1FAF-5C19-2E5B-C3CE-ACDD334A265B}"/>
          </ac:spMkLst>
        </pc:spChg>
        <pc:spChg chg="add del mod">
          <ac:chgData name="Cyrille Scuri" userId="0ff3ad52-7312-41f1-b45c-1187e0d5d8d9" providerId="ADAL" clId="{32CD123D-3778-4AB7-AB91-6EAFB4AF5BAA}" dt="2022-05-12T14:57:32.918" v="1040" actId="478"/>
          <ac:spMkLst>
            <pc:docMk/>
            <pc:sldMk cId="3504303499" sldId="2147469263"/>
            <ac:spMk id="5" creationId="{3D9D3BF2-5DFD-C045-8235-5D10353FFFB5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6" creationId="{68AD996C-AAB6-1425-0E32-40929C430E77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7" creationId="{D3E8F0E4-2BD0-8BC9-9130-673CD13FCD22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8" creationId="{E20487E4-5AA1-DFDF-0B6C-647BBC32ECEB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9" creationId="{24D4A56B-00F8-AEDB-FEA3-9B040F48F4D0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0" creationId="{49B781FB-6CE8-61B3-69B9-9EFE915996CC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1" creationId="{F182D1AD-5F99-4845-F84D-A64FD723101F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2" creationId="{A17FB19C-89DE-4E46-6BBC-F177B04DFEA7}"/>
          </ac:spMkLst>
        </pc:spChg>
        <pc:spChg chg="del">
          <ac:chgData name="Cyrille Scuri" userId="0ff3ad52-7312-41f1-b45c-1187e0d5d8d9" providerId="ADAL" clId="{32CD123D-3778-4AB7-AB91-6EAFB4AF5BAA}" dt="2022-05-12T12:24:07.379" v="87" actId="478"/>
          <ac:spMkLst>
            <pc:docMk/>
            <pc:sldMk cId="3504303499" sldId="2147469263"/>
            <ac:spMk id="14" creationId="{A2C4E225-EEA1-9B42-8764-8F3EDDC2D192}"/>
          </ac:spMkLst>
        </pc:spChg>
        <pc:spChg chg="del mod">
          <ac:chgData name="Cyrille Scuri" userId="0ff3ad52-7312-41f1-b45c-1187e0d5d8d9" providerId="ADAL" clId="{32CD123D-3778-4AB7-AB91-6EAFB4AF5BAA}" dt="2022-05-12T12:24:10.813" v="89" actId="478"/>
          <ac:spMkLst>
            <pc:docMk/>
            <pc:sldMk cId="3504303499" sldId="2147469263"/>
            <ac:spMk id="15" creationId="{74F0DFAC-6BA0-1A0A-03FF-C2962B11F270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6" creationId="{2332F01E-2483-48EA-137A-5ADA2015A11B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7" creationId="{8E46C037-C7E0-25E1-C66D-821FBA5B7C79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8" creationId="{47DEB8CA-681A-9F68-074B-E73AC2C21E62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19" creationId="{29B11B79-1B94-05D4-8B20-B5D4201FD067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0" creationId="{9A5A21D2-4F53-BACF-D4A7-9CC3B6DF5580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1" creationId="{1EAD4FEB-84F9-9C03-60AD-168B76E503E6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2" creationId="{85BE51A0-F4E2-A567-C2FB-838490D2D8D7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3" creationId="{FE9945E8-6D86-D762-853F-AAC0E51EA5EB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4" creationId="{4D62E1EB-D236-8A3C-B8D3-546254545476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5" creationId="{1FAE61BD-B4B0-2F62-B85B-797A10469EF8}"/>
          </ac:spMkLst>
        </pc:spChg>
        <pc:spChg chg="add mod">
          <ac:chgData name="Cyrille Scuri" userId="0ff3ad52-7312-41f1-b45c-1187e0d5d8d9" providerId="ADAL" clId="{32CD123D-3778-4AB7-AB91-6EAFB4AF5BAA}" dt="2022-05-12T12:24:52.410" v="93"/>
          <ac:spMkLst>
            <pc:docMk/>
            <pc:sldMk cId="3504303499" sldId="2147469263"/>
            <ac:spMk id="26" creationId="{5D9D0128-4E86-88F2-53F4-EDDB0719512A}"/>
          </ac:spMkLst>
        </pc:spChg>
        <pc:picChg chg="del">
          <ac:chgData name="Cyrille Scuri" userId="0ff3ad52-7312-41f1-b45c-1187e0d5d8d9" providerId="ADAL" clId="{32CD123D-3778-4AB7-AB91-6EAFB4AF5BAA}" dt="2022-05-12T12:24:05.226" v="86" actId="478"/>
          <ac:picMkLst>
            <pc:docMk/>
            <pc:sldMk cId="3504303499" sldId="2147469263"/>
            <ac:picMk id="13" creationId="{E3D87B8E-4AD0-39B1-02A3-244C04908703}"/>
          </ac:picMkLst>
        </pc:picChg>
        <pc:picChg chg="add mod">
          <ac:chgData name="Cyrille Scuri" userId="0ff3ad52-7312-41f1-b45c-1187e0d5d8d9" providerId="ADAL" clId="{32CD123D-3778-4AB7-AB91-6EAFB4AF5BAA}" dt="2022-05-12T12:24:52.410" v="93"/>
          <ac:picMkLst>
            <pc:docMk/>
            <pc:sldMk cId="3504303499" sldId="2147469263"/>
            <ac:picMk id="27" creationId="{7CCB02B4-3042-356F-8489-0F8B88D8243B}"/>
          </ac:picMkLst>
        </pc:picChg>
        <pc:picChg chg="add mod">
          <ac:chgData name="Cyrille Scuri" userId="0ff3ad52-7312-41f1-b45c-1187e0d5d8d9" providerId="ADAL" clId="{32CD123D-3778-4AB7-AB91-6EAFB4AF5BAA}" dt="2022-05-12T12:24:52.410" v="93"/>
          <ac:picMkLst>
            <pc:docMk/>
            <pc:sldMk cId="3504303499" sldId="2147469263"/>
            <ac:picMk id="28" creationId="{50A3D86A-7FFA-0264-AD9C-BED5E14E8F7C}"/>
          </ac:picMkLst>
        </pc:picChg>
        <pc:picChg chg="add mod">
          <ac:chgData name="Cyrille Scuri" userId="0ff3ad52-7312-41f1-b45c-1187e0d5d8d9" providerId="ADAL" clId="{32CD123D-3778-4AB7-AB91-6EAFB4AF5BAA}" dt="2022-05-12T12:24:52.410" v="93"/>
          <ac:picMkLst>
            <pc:docMk/>
            <pc:sldMk cId="3504303499" sldId="2147469263"/>
            <ac:picMk id="29" creationId="{9277AF75-3022-949A-3137-6D628E1DD860}"/>
          </ac:picMkLst>
        </pc:picChg>
      </pc:sldChg>
      <pc:sldChg chg="addSp delSp modSp add del mod ord delAnim">
        <pc:chgData name="Cyrille Scuri" userId="0ff3ad52-7312-41f1-b45c-1187e0d5d8d9" providerId="ADAL" clId="{32CD123D-3778-4AB7-AB91-6EAFB4AF5BAA}" dt="2022-05-12T15:43:51.246" v="2127" actId="47"/>
        <pc:sldMkLst>
          <pc:docMk/>
          <pc:sldMk cId="1596525264" sldId="2147469264"/>
        </pc:sldMkLst>
        <pc:spChg chg="add mod">
          <ac:chgData name="Cyrille Scuri" userId="0ff3ad52-7312-41f1-b45c-1187e0d5d8d9" providerId="ADAL" clId="{32CD123D-3778-4AB7-AB91-6EAFB4AF5BAA}" dt="2022-05-12T15:15:55.101" v="1738" actId="1076"/>
          <ac:spMkLst>
            <pc:docMk/>
            <pc:sldMk cId="1596525264" sldId="2147469264"/>
            <ac:spMk id="13" creationId="{769985A5-C0E4-E527-AC5C-08D3E9671EDC}"/>
          </ac:spMkLst>
        </pc:spChg>
        <pc:spChg chg="del">
          <ac:chgData name="Cyrille Scuri" userId="0ff3ad52-7312-41f1-b45c-1187e0d5d8d9" providerId="ADAL" clId="{32CD123D-3778-4AB7-AB91-6EAFB4AF5BAA}" dt="2022-05-12T12:25:27.250" v="99" actId="478"/>
          <ac:spMkLst>
            <pc:docMk/>
            <pc:sldMk cId="1596525264" sldId="2147469264"/>
            <ac:spMk id="19" creationId="{5495507B-9698-E4B2-B4C7-9A71302C6479}"/>
          </ac:spMkLst>
        </pc:spChg>
        <pc:spChg chg="del">
          <ac:chgData name="Cyrille Scuri" userId="0ff3ad52-7312-41f1-b45c-1187e0d5d8d9" providerId="ADAL" clId="{32CD123D-3778-4AB7-AB91-6EAFB4AF5BAA}" dt="2022-05-12T12:25:25.652" v="98" actId="478"/>
          <ac:spMkLst>
            <pc:docMk/>
            <pc:sldMk cId="1596525264" sldId="2147469264"/>
            <ac:spMk id="20" creationId="{1C6CFFA9-0A69-9D31-637F-714419DC03DD}"/>
          </ac:spMkLst>
        </pc:spChg>
        <pc:spChg chg="del">
          <ac:chgData name="Cyrille Scuri" userId="0ff3ad52-7312-41f1-b45c-1187e0d5d8d9" providerId="ADAL" clId="{32CD123D-3778-4AB7-AB91-6EAFB4AF5BAA}" dt="2022-05-12T12:25:24.091" v="97" actId="478"/>
          <ac:spMkLst>
            <pc:docMk/>
            <pc:sldMk cId="1596525264" sldId="2147469264"/>
            <ac:spMk id="22" creationId="{07D49F20-7A49-C178-58FD-47859236C5CF}"/>
          </ac:spMkLst>
        </pc:spChg>
        <pc:spChg chg="mod topLvl">
          <ac:chgData name="Cyrille Scuri" userId="0ff3ad52-7312-41f1-b45c-1187e0d5d8d9" providerId="ADAL" clId="{32CD123D-3778-4AB7-AB91-6EAFB4AF5BAA}" dt="2022-05-12T14:15:40.529" v="377" actId="165"/>
          <ac:spMkLst>
            <pc:docMk/>
            <pc:sldMk cId="1596525264" sldId="2147469264"/>
            <ac:spMk id="52" creationId="{9586E116-B52C-4C05-932F-39B71195071F}"/>
          </ac:spMkLst>
        </pc:spChg>
        <pc:spChg chg="mod topLvl">
          <ac:chgData name="Cyrille Scuri" userId="0ff3ad52-7312-41f1-b45c-1187e0d5d8d9" providerId="ADAL" clId="{32CD123D-3778-4AB7-AB91-6EAFB4AF5BAA}" dt="2022-05-12T14:15:40.529" v="377" actId="165"/>
          <ac:spMkLst>
            <pc:docMk/>
            <pc:sldMk cId="1596525264" sldId="2147469264"/>
            <ac:spMk id="53" creationId="{9E10CDF3-DF17-48EC-B145-35B0E525F8B4}"/>
          </ac:spMkLst>
        </pc:spChg>
        <pc:spChg chg="mod topLvl">
          <ac:chgData name="Cyrille Scuri" userId="0ff3ad52-7312-41f1-b45c-1187e0d5d8d9" providerId="ADAL" clId="{32CD123D-3778-4AB7-AB91-6EAFB4AF5BAA}" dt="2022-05-12T14:15:40.529" v="377" actId="165"/>
          <ac:spMkLst>
            <pc:docMk/>
            <pc:sldMk cId="1596525264" sldId="2147469264"/>
            <ac:spMk id="61" creationId="{A349008B-F92F-4ED6-A81E-433857DA59C5}"/>
          </ac:spMkLst>
        </pc:spChg>
        <pc:grpChg chg="del mod">
          <ac:chgData name="Cyrille Scuri" userId="0ff3ad52-7312-41f1-b45c-1187e0d5d8d9" providerId="ADAL" clId="{32CD123D-3778-4AB7-AB91-6EAFB4AF5BAA}" dt="2022-05-12T14:15:40.529" v="377" actId="165"/>
          <ac:grpSpMkLst>
            <pc:docMk/>
            <pc:sldMk cId="1596525264" sldId="2147469264"/>
            <ac:grpSpMk id="13" creationId="{2C9FC594-9D78-AE2C-2916-77B1843ABBE8}"/>
          </ac:grpSpMkLst>
        </pc:grpChg>
        <pc:grpChg chg="del">
          <ac:chgData name="Cyrille Scuri" userId="0ff3ad52-7312-41f1-b45c-1187e0d5d8d9" providerId="ADAL" clId="{32CD123D-3778-4AB7-AB91-6EAFB4AF5BAA}" dt="2022-05-12T14:15:40.529" v="377" actId="165"/>
          <ac:grpSpMkLst>
            <pc:docMk/>
            <pc:sldMk cId="1596525264" sldId="2147469264"/>
            <ac:grpSpMk id="43" creationId="{4CA78464-7EE0-4EBA-B81D-67BA0A7E5A5D}"/>
          </ac:grpSpMkLst>
        </pc:grpChg>
        <pc:picChg chg="mod topLvl">
          <ac:chgData name="Cyrille Scuri" userId="0ff3ad52-7312-41f1-b45c-1187e0d5d8d9" providerId="ADAL" clId="{32CD123D-3778-4AB7-AB91-6EAFB4AF5BAA}" dt="2022-05-12T15:43:15.618" v="2102" actId="1076"/>
          <ac:picMkLst>
            <pc:docMk/>
            <pc:sldMk cId="1596525264" sldId="2147469264"/>
            <ac:picMk id="14" creationId="{C99F6C2A-652B-6C49-DF9D-7C7038EEE2DE}"/>
          </ac:picMkLst>
        </pc:picChg>
        <pc:picChg chg="mod topLvl">
          <ac:chgData name="Cyrille Scuri" userId="0ff3ad52-7312-41f1-b45c-1187e0d5d8d9" providerId="ADAL" clId="{32CD123D-3778-4AB7-AB91-6EAFB4AF5BAA}" dt="2022-05-12T15:15:50.594" v="1736" actId="14100"/>
          <ac:picMkLst>
            <pc:docMk/>
            <pc:sldMk cId="1596525264" sldId="2147469264"/>
            <ac:picMk id="15" creationId="{A564205D-D702-DD8D-D07C-12FDA51EC97A}"/>
          </ac:picMkLst>
        </pc:picChg>
        <pc:picChg chg="mod topLvl">
          <ac:chgData name="Cyrille Scuri" userId="0ff3ad52-7312-41f1-b45c-1187e0d5d8d9" providerId="ADAL" clId="{32CD123D-3778-4AB7-AB91-6EAFB4AF5BAA}" dt="2022-05-12T15:11:22.191" v="1599" actId="1367"/>
          <ac:picMkLst>
            <pc:docMk/>
            <pc:sldMk cId="1596525264" sldId="2147469264"/>
            <ac:picMk id="16" creationId="{1C67F89D-C8A0-4965-16D0-FF70767D9D23}"/>
          </ac:picMkLst>
        </pc:picChg>
        <pc:picChg chg="mod topLvl">
          <ac:chgData name="Cyrille Scuri" userId="0ff3ad52-7312-41f1-b45c-1187e0d5d8d9" providerId="ADAL" clId="{32CD123D-3778-4AB7-AB91-6EAFB4AF5BAA}" dt="2022-05-12T15:11:22.191" v="1599" actId="1367"/>
          <ac:picMkLst>
            <pc:docMk/>
            <pc:sldMk cId="1596525264" sldId="2147469264"/>
            <ac:picMk id="17" creationId="{2BF278B1-9CA6-4E1D-A6E3-2FCFCBDE7B15}"/>
          </ac:picMkLst>
        </pc:picChg>
        <pc:picChg chg="mod topLvl">
          <ac:chgData name="Cyrille Scuri" userId="0ff3ad52-7312-41f1-b45c-1187e0d5d8d9" providerId="ADAL" clId="{32CD123D-3778-4AB7-AB91-6EAFB4AF5BAA}" dt="2022-05-12T15:11:22.191" v="1599" actId="1367"/>
          <ac:picMkLst>
            <pc:docMk/>
            <pc:sldMk cId="1596525264" sldId="2147469264"/>
            <ac:picMk id="18" creationId="{C2925B9A-B68C-D833-CB43-5A666A7775EA}"/>
          </ac:picMkLst>
        </pc:picChg>
        <pc:picChg chg="del">
          <ac:chgData name="Cyrille Scuri" userId="0ff3ad52-7312-41f1-b45c-1187e0d5d8d9" providerId="ADAL" clId="{32CD123D-3778-4AB7-AB91-6EAFB4AF5BAA}" dt="2022-05-12T12:41:43.753" v="191" actId="478"/>
          <ac:picMkLst>
            <pc:docMk/>
            <pc:sldMk cId="1596525264" sldId="2147469264"/>
            <ac:picMk id="21" creationId="{3452B25C-4B8A-A47C-3B5B-41416231DEE5}"/>
          </ac:picMkLst>
        </pc:picChg>
      </pc:sldChg>
      <pc:sldChg chg="addSp delSp modSp add mod ord modAnim modNotesTx">
        <pc:chgData name="Cyrille Scuri" userId="0ff3ad52-7312-41f1-b45c-1187e0d5d8d9" providerId="ADAL" clId="{32CD123D-3778-4AB7-AB91-6EAFB4AF5BAA}" dt="2022-05-12T16:22:06.159" v="3098"/>
        <pc:sldMkLst>
          <pc:docMk/>
          <pc:sldMk cId="3464238080" sldId="2147469265"/>
        </pc:sldMkLst>
        <pc:spChg chg="add del mod">
          <ac:chgData name="Cyrille Scuri" userId="0ff3ad52-7312-41f1-b45c-1187e0d5d8d9" providerId="ADAL" clId="{32CD123D-3778-4AB7-AB91-6EAFB4AF5BAA}" dt="2022-05-12T12:39:53.940" v="154"/>
          <ac:spMkLst>
            <pc:docMk/>
            <pc:sldMk cId="3464238080" sldId="2147469265"/>
            <ac:spMk id="4" creationId="{7793F6B5-2CA3-B610-8FC9-6E7DCFED0E8B}"/>
          </ac:spMkLst>
        </pc:spChg>
        <pc:spChg chg="add del mod">
          <ac:chgData name="Cyrille Scuri" userId="0ff3ad52-7312-41f1-b45c-1187e0d5d8d9" providerId="ADAL" clId="{32CD123D-3778-4AB7-AB91-6EAFB4AF5BAA}" dt="2022-05-12T12:42:51.947" v="198" actId="478"/>
          <ac:spMkLst>
            <pc:docMk/>
            <pc:sldMk cId="3464238080" sldId="2147469265"/>
            <ac:spMk id="5" creationId="{93CE2C23-CE9D-C7B0-77FF-ADC5713A3836}"/>
          </ac:spMkLst>
        </pc:spChg>
        <pc:spChg chg="add del mod">
          <ac:chgData name="Cyrille Scuri" userId="0ff3ad52-7312-41f1-b45c-1187e0d5d8d9" providerId="ADAL" clId="{32CD123D-3778-4AB7-AB91-6EAFB4AF5BAA}" dt="2022-05-12T14:18:43.854" v="486" actId="478"/>
          <ac:spMkLst>
            <pc:docMk/>
            <pc:sldMk cId="3464238080" sldId="2147469265"/>
            <ac:spMk id="6" creationId="{04BBDA8C-4E4E-9B2D-0241-02E7524B20C4}"/>
          </ac:spMkLst>
        </pc:spChg>
        <pc:spChg chg="del mod">
          <ac:chgData name="Cyrille Scuri" userId="0ff3ad52-7312-41f1-b45c-1187e0d5d8d9" providerId="ADAL" clId="{32CD123D-3778-4AB7-AB91-6EAFB4AF5BAA}" dt="2022-05-12T12:42:50.170" v="197" actId="478"/>
          <ac:spMkLst>
            <pc:docMk/>
            <pc:sldMk cId="3464238080" sldId="2147469265"/>
            <ac:spMk id="7" creationId="{B7480060-AE6F-5D4F-ABE8-A0195C74A01F}"/>
          </ac:spMkLst>
        </pc:spChg>
        <pc:spChg chg="add mod">
          <ac:chgData name="Cyrille Scuri" userId="0ff3ad52-7312-41f1-b45c-1187e0d5d8d9" providerId="ADAL" clId="{32CD123D-3778-4AB7-AB91-6EAFB4AF5BAA}" dt="2022-05-12T16:00:03.903" v="2585" actId="207"/>
          <ac:spMkLst>
            <pc:docMk/>
            <pc:sldMk cId="3464238080" sldId="2147469265"/>
            <ac:spMk id="8" creationId="{6EF9D717-1998-7D45-9EBE-55CF8691A10F}"/>
          </ac:spMkLst>
        </pc:spChg>
        <pc:spChg chg="mod">
          <ac:chgData name="Cyrille Scuri" userId="0ff3ad52-7312-41f1-b45c-1187e0d5d8d9" providerId="ADAL" clId="{32CD123D-3778-4AB7-AB91-6EAFB4AF5BAA}" dt="2022-05-12T12:42:52.634" v="199"/>
          <ac:spMkLst>
            <pc:docMk/>
            <pc:sldMk cId="3464238080" sldId="2147469265"/>
            <ac:spMk id="10" creationId="{5312E4EE-6303-62A5-D182-CD470DA23DBA}"/>
          </ac:spMkLst>
        </pc:spChg>
        <pc:spChg chg="mod">
          <ac:chgData name="Cyrille Scuri" userId="0ff3ad52-7312-41f1-b45c-1187e0d5d8d9" providerId="ADAL" clId="{32CD123D-3778-4AB7-AB91-6EAFB4AF5BAA}" dt="2022-05-12T12:42:52.634" v="199"/>
          <ac:spMkLst>
            <pc:docMk/>
            <pc:sldMk cId="3464238080" sldId="2147469265"/>
            <ac:spMk id="11" creationId="{283E7091-9527-8E16-9EE6-37CEE8C326B2}"/>
          </ac:spMkLst>
        </pc:spChg>
        <pc:spChg chg="mod">
          <ac:chgData name="Cyrille Scuri" userId="0ff3ad52-7312-41f1-b45c-1187e0d5d8d9" providerId="ADAL" clId="{32CD123D-3778-4AB7-AB91-6EAFB4AF5BAA}" dt="2022-05-12T12:42:52.634" v="199"/>
          <ac:spMkLst>
            <pc:docMk/>
            <pc:sldMk cId="3464238080" sldId="2147469265"/>
            <ac:spMk id="12" creationId="{093F6169-B7A5-026E-E478-D6019998BF99}"/>
          </ac:spMkLst>
        </pc:spChg>
        <pc:spChg chg="add del">
          <ac:chgData name="Cyrille Scuri" userId="0ff3ad52-7312-41f1-b45c-1187e0d5d8d9" providerId="ADAL" clId="{32CD123D-3778-4AB7-AB91-6EAFB4AF5BAA}" dt="2022-05-12T14:18:46.293" v="488" actId="22"/>
          <ac:spMkLst>
            <pc:docMk/>
            <pc:sldMk cId="3464238080" sldId="2147469265"/>
            <ac:spMk id="19" creationId="{EE72BED4-53B3-D46A-A4C1-AD1A34A5A723}"/>
          </ac:spMkLst>
        </pc:spChg>
        <pc:spChg chg="add mod">
          <ac:chgData name="Cyrille Scuri" userId="0ff3ad52-7312-41f1-b45c-1187e0d5d8d9" providerId="ADAL" clId="{32CD123D-3778-4AB7-AB91-6EAFB4AF5BAA}" dt="2022-05-12T16:00:22.648" v="2618" actId="1037"/>
          <ac:spMkLst>
            <pc:docMk/>
            <pc:sldMk cId="3464238080" sldId="2147469265"/>
            <ac:spMk id="20" creationId="{46E628D0-DFD0-9912-D8C8-FB692663E1FD}"/>
          </ac:spMkLst>
        </pc:spChg>
        <pc:grpChg chg="add mod">
          <ac:chgData name="Cyrille Scuri" userId="0ff3ad52-7312-41f1-b45c-1187e0d5d8d9" providerId="ADAL" clId="{32CD123D-3778-4AB7-AB91-6EAFB4AF5BAA}" dt="2022-05-12T12:42:52.634" v="199"/>
          <ac:grpSpMkLst>
            <pc:docMk/>
            <pc:sldMk cId="3464238080" sldId="2147469265"/>
            <ac:grpSpMk id="9" creationId="{AD015C65-7278-FAA4-114A-E74BFDF705FB}"/>
          </ac:grpSpMkLst>
        </pc:grpChg>
        <pc:picChg chg="del">
          <ac:chgData name="Cyrille Scuri" userId="0ff3ad52-7312-41f1-b45c-1187e0d5d8d9" providerId="ADAL" clId="{32CD123D-3778-4AB7-AB91-6EAFB4AF5BAA}" dt="2022-05-12T12:35:14.492" v="114" actId="478"/>
          <ac:picMkLst>
            <pc:docMk/>
            <pc:sldMk cId="3464238080" sldId="2147469265"/>
            <ac:picMk id="3" creationId="{F902E703-E67F-0E10-01D5-A3A6E67DB281}"/>
          </ac:picMkLst>
        </pc:picChg>
        <pc:picChg chg="add del mod">
          <ac:chgData name="Cyrille Scuri" userId="0ff3ad52-7312-41f1-b45c-1187e0d5d8d9" providerId="ADAL" clId="{32CD123D-3778-4AB7-AB91-6EAFB4AF5BAA}" dt="2022-05-12T12:44:38.607" v="217" actId="478"/>
          <ac:picMkLst>
            <pc:docMk/>
            <pc:sldMk cId="3464238080" sldId="2147469265"/>
            <ac:picMk id="13" creationId="{F78F2413-E08B-B71D-7992-75CA2C2E98B0}"/>
          </ac:picMkLst>
        </pc:picChg>
        <pc:picChg chg="add mod">
          <ac:chgData name="Cyrille Scuri" userId="0ff3ad52-7312-41f1-b45c-1187e0d5d8d9" providerId="ADAL" clId="{32CD123D-3778-4AB7-AB91-6EAFB4AF5BAA}" dt="2022-05-12T12:48:54.624" v="243" actId="1037"/>
          <ac:picMkLst>
            <pc:docMk/>
            <pc:sldMk cId="3464238080" sldId="2147469265"/>
            <ac:picMk id="14" creationId="{147BC089-E0B3-E19A-E533-88178A31AD16}"/>
          </ac:picMkLst>
        </pc:picChg>
        <pc:picChg chg="add mod">
          <ac:chgData name="Cyrille Scuri" userId="0ff3ad52-7312-41f1-b45c-1187e0d5d8d9" providerId="ADAL" clId="{32CD123D-3778-4AB7-AB91-6EAFB4AF5BAA}" dt="2022-05-12T12:47:49.321" v="233" actId="1076"/>
          <ac:picMkLst>
            <pc:docMk/>
            <pc:sldMk cId="3464238080" sldId="2147469265"/>
            <ac:picMk id="15" creationId="{4A5FD1E6-451F-EFE7-43A7-7606D588AB12}"/>
          </ac:picMkLst>
        </pc:picChg>
        <pc:picChg chg="add mod">
          <ac:chgData name="Cyrille Scuri" userId="0ff3ad52-7312-41f1-b45c-1187e0d5d8d9" providerId="ADAL" clId="{32CD123D-3778-4AB7-AB91-6EAFB4AF5BAA}" dt="2022-05-12T12:48:34.774" v="239" actId="1076"/>
          <ac:picMkLst>
            <pc:docMk/>
            <pc:sldMk cId="3464238080" sldId="2147469265"/>
            <ac:picMk id="16" creationId="{647333B3-EEA1-776F-23C9-384B70A89463}"/>
          </ac:picMkLst>
        </pc:picChg>
        <pc:picChg chg="add mod">
          <ac:chgData name="Cyrille Scuri" userId="0ff3ad52-7312-41f1-b45c-1187e0d5d8d9" providerId="ADAL" clId="{32CD123D-3778-4AB7-AB91-6EAFB4AF5BAA}" dt="2022-05-12T12:48:36.259" v="240" actId="1076"/>
          <ac:picMkLst>
            <pc:docMk/>
            <pc:sldMk cId="3464238080" sldId="2147469265"/>
            <ac:picMk id="17" creationId="{0326AEFA-7EA1-9ACD-7D68-6BB63235EB93}"/>
          </ac:picMkLst>
        </pc:picChg>
      </pc:sldChg>
      <pc:sldChg chg="addSp delSp modSp add del mod ord modAnim">
        <pc:chgData name="Cyrille Scuri" userId="0ff3ad52-7312-41f1-b45c-1187e0d5d8d9" providerId="ADAL" clId="{32CD123D-3778-4AB7-AB91-6EAFB4AF5BAA}" dt="2022-05-12T15:43:07.493" v="2100" actId="47"/>
        <pc:sldMkLst>
          <pc:docMk/>
          <pc:sldMk cId="1261136432" sldId="2147469266"/>
        </pc:sldMkLst>
        <pc:spChg chg="del">
          <ac:chgData name="Cyrille Scuri" userId="0ff3ad52-7312-41f1-b45c-1187e0d5d8d9" providerId="ADAL" clId="{32CD123D-3778-4AB7-AB91-6EAFB4AF5BAA}" dt="2022-05-12T13:02:54.708" v="313" actId="478"/>
          <ac:spMkLst>
            <pc:docMk/>
            <pc:sldMk cId="1261136432" sldId="2147469266"/>
            <ac:spMk id="12" creationId="{7167BEF4-1FED-54E8-3662-5E63711939CB}"/>
          </ac:spMkLst>
        </pc:spChg>
        <pc:grpChg chg="add del mod">
          <ac:chgData name="Cyrille Scuri" userId="0ff3ad52-7312-41f1-b45c-1187e0d5d8d9" providerId="ADAL" clId="{32CD123D-3778-4AB7-AB91-6EAFB4AF5BAA}" dt="2022-05-12T13:01:40.710" v="298" actId="165"/>
          <ac:grpSpMkLst>
            <pc:docMk/>
            <pc:sldMk cId="1261136432" sldId="2147469266"/>
            <ac:grpSpMk id="13" creationId="{2C9FC594-9D78-AE2C-2916-77B1843ABBE8}"/>
          </ac:grpSpMkLst>
        </pc:grpChg>
        <pc:grpChg chg="mod">
          <ac:chgData name="Cyrille Scuri" userId="0ff3ad52-7312-41f1-b45c-1187e0d5d8d9" providerId="ADAL" clId="{32CD123D-3778-4AB7-AB91-6EAFB4AF5BAA}" dt="2022-05-12T13:06:52.614" v="339" actId="1038"/>
          <ac:grpSpMkLst>
            <pc:docMk/>
            <pc:sldMk cId="1261136432" sldId="2147469266"/>
            <ac:grpSpMk id="43" creationId="{4CA78464-7EE0-4EBA-B81D-67BA0A7E5A5D}"/>
          </ac:grpSpMkLst>
        </pc:grpChg>
        <pc:picChg chg="del mod">
          <ac:chgData name="Cyrille Scuri" userId="0ff3ad52-7312-41f1-b45c-1187e0d5d8d9" providerId="ADAL" clId="{32CD123D-3778-4AB7-AB91-6EAFB4AF5BAA}" dt="2022-05-12T13:01:29.896" v="295" actId="478"/>
          <ac:picMkLst>
            <pc:docMk/>
            <pc:sldMk cId="1261136432" sldId="2147469266"/>
            <ac:picMk id="14" creationId="{C99F6C2A-652B-6C49-DF9D-7C7038EEE2DE}"/>
          </ac:picMkLst>
        </pc:picChg>
        <pc:picChg chg="del mod">
          <ac:chgData name="Cyrille Scuri" userId="0ff3ad52-7312-41f1-b45c-1187e0d5d8d9" providerId="ADAL" clId="{32CD123D-3778-4AB7-AB91-6EAFB4AF5BAA}" dt="2022-05-12T13:01:18.081" v="291" actId="478"/>
          <ac:picMkLst>
            <pc:docMk/>
            <pc:sldMk cId="1261136432" sldId="2147469266"/>
            <ac:picMk id="15" creationId="{A564205D-D702-DD8D-D07C-12FDA51EC97A}"/>
          </ac:picMkLst>
        </pc:picChg>
        <pc:picChg chg="mod topLvl">
          <ac:chgData name="Cyrille Scuri" userId="0ff3ad52-7312-41f1-b45c-1187e0d5d8d9" providerId="ADAL" clId="{32CD123D-3778-4AB7-AB91-6EAFB4AF5BAA}" dt="2022-05-12T13:22:06.565" v="365" actId="1076"/>
          <ac:picMkLst>
            <pc:docMk/>
            <pc:sldMk cId="1261136432" sldId="2147469266"/>
            <ac:picMk id="16" creationId="{1C67F89D-C8A0-4965-16D0-FF70767D9D23}"/>
          </ac:picMkLst>
        </pc:picChg>
        <pc:picChg chg="mod topLvl">
          <ac:chgData name="Cyrille Scuri" userId="0ff3ad52-7312-41f1-b45c-1187e0d5d8d9" providerId="ADAL" clId="{32CD123D-3778-4AB7-AB91-6EAFB4AF5BAA}" dt="2022-05-12T14:58:52.712" v="1049" actId="14100"/>
          <ac:picMkLst>
            <pc:docMk/>
            <pc:sldMk cId="1261136432" sldId="2147469266"/>
            <ac:picMk id="17" creationId="{2BF278B1-9CA6-4E1D-A6E3-2FCFCBDE7B15}"/>
          </ac:picMkLst>
        </pc:picChg>
        <pc:picChg chg="mod topLvl">
          <ac:chgData name="Cyrille Scuri" userId="0ff3ad52-7312-41f1-b45c-1187e0d5d8d9" providerId="ADAL" clId="{32CD123D-3778-4AB7-AB91-6EAFB4AF5BAA}" dt="2022-05-12T14:59:18.633" v="1056" actId="14100"/>
          <ac:picMkLst>
            <pc:docMk/>
            <pc:sldMk cId="1261136432" sldId="2147469266"/>
            <ac:picMk id="18" creationId="{C2925B9A-B68C-D833-CB43-5A666A7775EA}"/>
          </ac:picMkLst>
        </pc:picChg>
      </pc:sldChg>
      <pc:sldChg chg="addSp delSp modSp add del">
        <pc:chgData name="Cyrille Scuri" userId="0ff3ad52-7312-41f1-b45c-1187e0d5d8d9" providerId="ADAL" clId="{32CD123D-3778-4AB7-AB91-6EAFB4AF5BAA}" dt="2022-05-12T12:51:07.832" v="287" actId="47"/>
        <pc:sldMkLst>
          <pc:docMk/>
          <pc:sldMk cId="2492551633" sldId="2147469266"/>
        </pc:sldMkLst>
        <pc:picChg chg="add del mod">
          <ac:chgData name="Cyrille Scuri" userId="0ff3ad52-7312-41f1-b45c-1187e0d5d8d9" providerId="ADAL" clId="{32CD123D-3778-4AB7-AB91-6EAFB4AF5BAA}" dt="2022-05-12T12:50:15.368" v="244" actId="478"/>
          <ac:picMkLst>
            <pc:docMk/>
            <pc:sldMk cId="2492551633" sldId="2147469266"/>
            <ac:picMk id="175106" creationId="{0AF5337B-43D4-E50D-9887-2BF47E743D58}"/>
          </ac:picMkLst>
        </pc:picChg>
      </pc:sldChg>
      <pc:sldChg chg="addSp delSp modSp add mod delAnim modAnim modNotesTx">
        <pc:chgData name="Cyrille Scuri" userId="0ff3ad52-7312-41f1-b45c-1187e0d5d8d9" providerId="ADAL" clId="{32CD123D-3778-4AB7-AB91-6EAFB4AF5BAA}" dt="2022-05-12T18:22:03.575" v="3426" actId="20577"/>
        <pc:sldMkLst>
          <pc:docMk/>
          <pc:sldMk cId="2077853568" sldId="2147469267"/>
        </pc:sldMkLst>
        <pc:spChg chg="add del mod">
          <ac:chgData name="Cyrille Scuri" userId="0ff3ad52-7312-41f1-b45c-1187e0d5d8d9" providerId="ADAL" clId="{32CD123D-3778-4AB7-AB91-6EAFB4AF5BAA}" dt="2022-05-12T15:16:01.478" v="1739" actId="478"/>
          <ac:spMkLst>
            <pc:docMk/>
            <pc:sldMk cId="2077853568" sldId="2147469267"/>
            <ac:spMk id="2" creationId="{721CFF22-60EB-08F5-28F2-AC9CAED9AE8F}"/>
          </ac:spMkLst>
        </pc:spChg>
        <pc:spChg chg="add mod">
          <ac:chgData name="Cyrille Scuri" userId="0ff3ad52-7312-41f1-b45c-1187e0d5d8d9" providerId="ADAL" clId="{32CD123D-3778-4AB7-AB91-6EAFB4AF5BAA}" dt="2022-05-12T15:48:31.327" v="2178" actId="1035"/>
          <ac:spMkLst>
            <pc:docMk/>
            <pc:sldMk cId="2077853568" sldId="2147469267"/>
            <ac:spMk id="3" creationId="{92500EFC-03E7-E8D8-62F8-DD855007CA49}"/>
          </ac:spMkLst>
        </pc:spChg>
        <pc:spChg chg="add del mod">
          <ac:chgData name="Cyrille Scuri" userId="0ff3ad52-7312-41f1-b45c-1187e0d5d8d9" providerId="ADAL" clId="{32CD123D-3778-4AB7-AB91-6EAFB4AF5BAA}" dt="2022-05-12T15:48:01.414" v="2146" actId="478"/>
          <ac:spMkLst>
            <pc:docMk/>
            <pc:sldMk cId="2077853568" sldId="2147469267"/>
            <ac:spMk id="4" creationId="{99122A6C-0910-EF38-FA3C-3532EFE659FC}"/>
          </ac:spMkLst>
        </pc:spChg>
        <pc:spChg chg="mod">
          <ac:chgData name="Cyrille Scuri" userId="0ff3ad52-7312-41f1-b45c-1187e0d5d8d9" providerId="ADAL" clId="{32CD123D-3778-4AB7-AB91-6EAFB4AF5BAA}" dt="2022-05-12T15:59:59.478" v="2584" actId="207"/>
          <ac:spMkLst>
            <pc:docMk/>
            <pc:sldMk cId="2077853568" sldId="2147469267"/>
            <ac:spMk id="8" creationId="{6EF9D717-1998-7D45-9EBE-55CF8691A10F}"/>
          </ac:spMkLst>
        </pc:spChg>
        <pc:spChg chg="add mod">
          <ac:chgData name="Cyrille Scuri" userId="0ff3ad52-7312-41f1-b45c-1187e0d5d8d9" providerId="ADAL" clId="{32CD123D-3778-4AB7-AB91-6EAFB4AF5BAA}" dt="2022-05-12T14:57:43.685" v="1041"/>
          <ac:spMkLst>
            <pc:docMk/>
            <pc:sldMk cId="2077853568" sldId="2147469267"/>
            <ac:spMk id="13" creationId="{099AE5D9-193E-F620-153A-4AF5D288CDAA}"/>
          </ac:spMkLst>
        </pc:spChg>
        <pc:spChg chg="add mod">
          <ac:chgData name="Cyrille Scuri" userId="0ff3ad52-7312-41f1-b45c-1187e0d5d8d9" providerId="ADAL" clId="{32CD123D-3778-4AB7-AB91-6EAFB4AF5BAA}" dt="2022-05-12T14:57:43.685" v="1041"/>
          <ac:spMkLst>
            <pc:docMk/>
            <pc:sldMk cId="2077853568" sldId="2147469267"/>
            <ac:spMk id="18" creationId="{B42FBA2E-4AEE-DC6F-581D-AD55672D18C5}"/>
          </ac:spMkLst>
        </pc:spChg>
        <pc:spChg chg="add mod">
          <ac:chgData name="Cyrille Scuri" userId="0ff3ad52-7312-41f1-b45c-1187e0d5d8d9" providerId="ADAL" clId="{32CD123D-3778-4AB7-AB91-6EAFB4AF5BAA}" dt="2022-05-12T15:26:46.144" v="1764" actId="790"/>
          <ac:spMkLst>
            <pc:docMk/>
            <pc:sldMk cId="2077853568" sldId="2147469267"/>
            <ac:spMk id="19" creationId="{4373FE4A-0D9F-262D-101F-E912585B8921}"/>
          </ac:spMkLst>
        </pc:spChg>
        <pc:spChg chg="del">
          <ac:chgData name="Cyrille Scuri" userId="0ff3ad52-7312-41f1-b45c-1187e0d5d8d9" providerId="ADAL" clId="{32CD123D-3778-4AB7-AB91-6EAFB4AF5BAA}" dt="2022-05-12T14:57:03.548" v="1037" actId="478"/>
          <ac:spMkLst>
            <pc:docMk/>
            <pc:sldMk cId="2077853568" sldId="2147469267"/>
            <ac:spMk id="20" creationId="{46E628D0-DFD0-9912-D8C8-FB692663E1FD}"/>
          </ac:spMkLst>
        </pc:spChg>
        <pc:spChg chg="add mod">
          <ac:chgData name="Cyrille Scuri" userId="0ff3ad52-7312-41f1-b45c-1187e0d5d8d9" providerId="ADAL" clId="{32CD123D-3778-4AB7-AB91-6EAFB4AF5BAA}" dt="2022-05-12T18:21:12.036" v="3377" actId="207"/>
          <ac:spMkLst>
            <pc:docMk/>
            <pc:sldMk cId="2077853568" sldId="2147469267"/>
            <ac:spMk id="21" creationId="{C698F22C-0EE0-E0D7-AA90-05BCEFF31B6A}"/>
          </ac:spMkLst>
        </pc:spChg>
        <pc:spChg chg="add mod">
          <ac:chgData name="Cyrille Scuri" userId="0ff3ad52-7312-41f1-b45c-1187e0d5d8d9" providerId="ADAL" clId="{32CD123D-3778-4AB7-AB91-6EAFB4AF5BAA}" dt="2022-05-12T18:21:10.085" v="3376" actId="207"/>
          <ac:spMkLst>
            <pc:docMk/>
            <pc:sldMk cId="2077853568" sldId="2147469267"/>
            <ac:spMk id="22" creationId="{0364D1B2-E703-407C-9965-08B42A8E8E5D}"/>
          </ac:spMkLst>
        </pc:spChg>
        <pc:spChg chg="add mod">
          <ac:chgData name="Cyrille Scuri" userId="0ff3ad52-7312-41f1-b45c-1187e0d5d8d9" providerId="ADAL" clId="{32CD123D-3778-4AB7-AB91-6EAFB4AF5BAA}" dt="2022-05-12T18:21:33.113" v="3383" actId="207"/>
          <ac:spMkLst>
            <pc:docMk/>
            <pc:sldMk cId="2077853568" sldId="2147469267"/>
            <ac:spMk id="23" creationId="{A80486F2-A449-4473-12E1-32BB32500DF7}"/>
          </ac:spMkLst>
        </pc:spChg>
        <pc:spChg chg="add mod">
          <ac:chgData name="Cyrille Scuri" userId="0ff3ad52-7312-41f1-b45c-1187e0d5d8d9" providerId="ADAL" clId="{32CD123D-3778-4AB7-AB91-6EAFB4AF5BAA}" dt="2022-05-12T18:21:42.666" v="3386" actId="207"/>
          <ac:spMkLst>
            <pc:docMk/>
            <pc:sldMk cId="2077853568" sldId="2147469267"/>
            <ac:spMk id="24" creationId="{15ED80B1-4138-43B3-BF52-F8405EAC5F3D}"/>
          </ac:spMkLst>
        </pc:spChg>
        <pc:spChg chg="add mod">
          <ac:chgData name="Cyrille Scuri" userId="0ff3ad52-7312-41f1-b45c-1187e0d5d8d9" providerId="ADAL" clId="{32CD123D-3778-4AB7-AB91-6EAFB4AF5BAA}" dt="2022-05-12T18:21:28.629" v="3382" actId="207"/>
          <ac:spMkLst>
            <pc:docMk/>
            <pc:sldMk cId="2077853568" sldId="2147469267"/>
            <ac:spMk id="25" creationId="{26CF0794-8426-5D6E-A57B-8C429EC2D974}"/>
          </ac:spMkLst>
        </pc:spChg>
        <pc:spChg chg="add mod">
          <ac:chgData name="Cyrille Scuri" userId="0ff3ad52-7312-41f1-b45c-1187e0d5d8d9" providerId="ADAL" clId="{32CD123D-3778-4AB7-AB91-6EAFB4AF5BAA}" dt="2022-05-12T18:21:24.668" v="3381" actId="207"/>
          <ac:spMkLst>
            <pc:docMk/>
            <pc:sldMk cId="2077853568" sldId="2147469267"/>
            <ac:spMk id="26" creationId="{31F1B025-F269-F169-E491-F0E8D6125B15}"/>
          </ac:spMkLst>
        </pc:spChg>
        <pc:spChg chg="add mod">
          <ac:chgData name="Cyrille Scuri" userId="0ff3ad52-7312-41f1-b45c-1187e0d5d8d9" providerId="ADAL" clId="{32CD123D-3778-4AB7-AB91-6EAFB4AF5BAA}" dt="2022-05-12T18:21:15.129" v="3378" actId="207"/>
          <ac:spMkLst>
            <pc:docMk/>
            <pc:sldMk cId="2077853568" sldId="2147469267"/>
            <ac:spMk id="27" creationId="{81C348B1-FBA1-C3B7-269C-053AD6CD770B}"/>
          </ac:spMkLst>
        </pc:spChg>
        <pc:spChg chg="add mod">
          <ac:chgData name="Cyrille Scuri" userId="0ff3ad52-7312-41f1-b45c-1187e0d5d8d9" providerId="ADAL" clId="{32CD123D-3778-4AB7-AB91-6EAFB4AF5BAA}" dt="2022-05-12T18:21:17.238" v="3379" actId="207"/>
          <ac:spMkLst>
            <pc:docMk/>
            <pc:sldMk cId="2077853568" sldId="2147469267"/>
            <ac:spMk id="28" creationId="{47A1438B-5C80-C259-2CAE-377D63EA55F7}"/>
          </ac:spMkLst>
        </pc:spChg>
        <pc:spChg chg="add mod">
          <ac:chgData name="Cyrille Scuri" userId="0ff3ad52-7312-41f1-b45c-1187e0d5d8d9" providerId="ADAL" clId="{32CD123D-3778-4AB7-AB91-6EAFB4AF5BAA}" dt="2022-05-12T18:21:05.133" v="3375" actId="207"/>
          <ac:spMkLst>
            <pc:docMk/>
            <pc:sldMk cId="2077853568" sldId="2147469267"/>
            <ac:spMk id="29" creationId="{1B08C2B9-5946-E873-8591-54B3E76294B3}"/>
          </ac:spMkLst>
        </pc:spChg>
        <pc:spChg chg="add del mod ord">
          <ac:chgData name="Cyrille Scuri" userId="0ff3ad52-7312-41f1-b45c-1187e0d5d8d9" providerId="ADAL" clId="{32CD123D-3778-4AB7-AB91-6EAFB4AF5BAA}" dt="2022-05-12T15:11:27.977" v="1600" actId="478"/>
          <ac:spMkLst>
            <pc:docMk/>
            <pc:sldMk cId="2077853568" sldId="2147469267"/>
            <ac:spMk id="30" creationId="{F9490878-E307-877A-D4F8-B86DFE6AEB8A}"/>
          </ac:spMkLst>
        </pc:spChg>
        <pc:spChg chg="add mod">
          <ac:chgData name="Cyrille Scuri" userId="0ff3ad52-7312-41f1-b45c-1187e0d5d8d9" providerId="ADAL" clId="{32CD123D-3778-4AB7-AB91-6EAFB4AF5BAA}" dt="2022-05-12T18:21:21.979" v="3380" actId="207"/>
          <ac:spMkLst>
            <pc:docMk/>
            <pc:sldMk cId="2077853568" sldId="2147469267"/>
            <ac:spMk id="31" creationId="{E4CF6F43-17FA-2989-F0F2-9F9F08040108}"/>
          </ac:spMkLst>
        </pc:spChg>
        <pc:spChg chg="add mod">
          <ac:chgData name="Cyrille Scuri" userId="0ff3ad52-7312-41f1-b45c-1187e0d5d8d9" providerId="ADAL" clId="{32CD123D-3778-4AB7-AB91-6EAFB4AF5BAA}" dt="2022-05-12T14:57:43.685" v="1041"/>
          <ac:spMkLst>
            <pc:docMk/>
            <pc:sldMk cId="2077853568" sldId="2147469267"/>
            <ac:spMk id="32" creationId="{0FF6CF9A-398E-D250-ABD4-584178077283}"/>
          </ac:spMkLst>
        </pc:spChg>
        <pc:spChg chg="add mod">
          <ac:chgData name="Cyrille Scuri" userId="0ff3ad52-7312-41f1-b45c-1187e0d5d8d9" providerId="ADAL" clId="{32CD123D-3778-4AB7-AB91-6EAFB4AF5BAA}" dt="2022-05-12T15:26:46.144" v="1764" actId="790"/>
          <ac:spMkLst>
            <pc:docMk/>
            <pc:sldMk cId="2077853568" sldId="2147469267"/>
            <ac:spMk id="33" creationId="{52563BE4-9003-06C4-8AB1-EBB68604E44C}"/>
          </ac:spMkLst>
        </pc:spChg>
        <pc:spChg chg="add mod">
          <ac:chgData name="Cyrille Scuri" userId="0ff3ad52-7312-41f1-b45c-1187e0d5d8d9" providerId="ADAL" clId="{32CD123D-3778-4AB7-AB91-6EAFB4AF5BAA}" dt="2022-05-12T14:57:43.685" v="1041"/>
          <ac:spMkLst>
            <pc:docMk/>
            <pc:sldMk cId="2077853568" sldId="2147469267"/>
            <ac:spMk id="34" creationId="{8567A002-CCEB-1EA4-914F-AD2F89EA355B}"/>
          </ac:spMkLst>
        </pc:spChg>
        <pc:spChg chg="add mod">
          <ac:chgData name="Cyrille Scuri" userId="0ff3ad52-7312-41f1-b45c-1187e0d5d8d9" providerId="ADAL" clId="{32CD123D-3778-4AB7-AB91-6EAFB4AF5BAA}" dt="2022-05-12T15:50:17.069" v="2346" actId="1035"/>
          <ac:spMkLst>
            <pc:docMk/>
            <pc:sldMk cId="2077853568" sldId="2147469267"/>
            <ac:spMk id="35" creationId="{C8A6C481-BA97-1151-1C57-26D3197EF10C}"/>
          </ac:spMkLst>
        </pc:spChg>
        <pc:spChg chg="add mod">
          <ac:chgData name="Cyrille Scuri" userId="0ff3ad52-7312-41f1-b45c-1187e0d5d8d9" providerId="ADAL" clId="{32CD123D-3778-4AB7-AB91-6EAFB4AF5BAA}" dt="2022-05-12T18:22:03.575" v="3426" actId="20577"/>
          <ac:spMkLst>
            <pc:docMk/>
            <pc:sldMk cId="2077853568" sldId="2147469267"/>
            <ac:spMk id="39" creationId="{E7600ACC-D129-838A-0D6B-6649E2ADB779}"/>
          </ac:spMkLst>
        </pc:spChg>
        <pc:spChg chg="add mod">
          <ac:chgData name="Cyrille Scuri" userId="0ff3ad52-7312-41f1-b45c-1187e0d5d8d9" providerId="ADAL" clId="{32CD123D-3778-4AB7-AB91-6EAFB4AF5BAA}" dt="2022-05-12T15:39:30.835" v="2066" actId="6549"/>
          <ac:spMkLst>
            <pc:docMk/>
            <pc:sldMk cId="2077853568" sldId="2147469267"/>
            <ac:spMk id="51" creationId="{0E951746-9548-2583-592F-DCF4BEE9F9BC}"/>
          </ac:spMkLst>
        </pc:spChg>
        <pc:picChg chg="del">
          <ac:chgData name="Cyrille Scuri" userId="0ff3ad52-7312-41f1-b45c-1187e0d5d8d9" providerId="ADAL" clId="{32CD123D-3778-4AB7-AB91-6EAFB4AF5BAA}" dt="2022-05-12T14:56:59.687" v="1033" actId="478"/>
          <ac:picMkLst>
            <pc:docMk/>
            <pc:sldMk cId="2077853568" sldId="2147469267"/>
            <ac:picMk id="14" creationId="{147BC089-E0B3-E19A-E533-88178A31AD16}"/>
          </ac:picMkLst>
        </pc:picChg>
        <pc:picChg chg="del">
          <ac:chgData name="Cyrille Scuri" userId="0ff3ad52-7312-41f1-b45c-1187e0d5d8d9" providerId="ADAL" clId="{32CD123D-3778-4AB7-AB91-6EAFB4AF5BAA}" dt="2022-05-12T14:57:00.659" v="1034" actId="478"/>
          <ac:picMkLst>
            <pc:docMk/>
            <pc:sldMk cId="2077853568" sldId="2147469267"/>
            <ac:picMk id="15" creationId="{4A5FD1E6-451F-EFE7-43A7-7606D588AB12}"/>
          </ac:picMkLst>
        </pc:picChg>
        <pc:picChg chg="del">
          <ac:chgData name="Cyrille Scuri" userId="0ff3ad52-7312-41f1-b45c-1187e0d5d8d9" providerId="ADAL" clId="{32CD123D-3778-4AB7-AB91-6EAFB4AF5BAA}" dt="2022-05-12T14:57:01.230" v="1035" actId="478"/>
          <ac:picMkLst>
            <pc:docMk/>
            <pc:sldMk cId="2077853568" sldId="2147469267"/>
            <ac:picMk id="16" creationId="{647333B3-EEA1-776F-23C9-384B70A89463}"/>
          </ac:picMkLst>
        </pc:picChg>
        <pc:picChg chg="del">
          <ac:chgData name="Cyrille Scuri" userId="0ff3ad52-7312-41f1-b45c-1187e0d5d8d9" providerId="ADAL" clId="{32CD123D-3778-4AB7-AB91-6EAFB4AF5BAA}" dt="2022-05-12T14:57:01.950" v="1036" actId="478"/>
          <ac:picMkLst>
            <pc:docMk/>
            <pc:sldMk cId="2077853568" sldId="2147469267"/>
            <ac:picMk id="17" creationId="{0326AEFA-7EA1-9ACD-7D68-6BB63235EB93}"/>
          </ac:picMkLst>
        </pc:picChg>
        <pc:picChg chg="add mod">
          <ac:chgData name="Cyrille Scuri" userId="0ff3ad52-7312-41f1-b45c-1187e0d5d8d9" providerId="ADAL" clId="{32CD123D-3778-4AB7-AB91-6EAFB4AF5BAA}" dt="2022-05-12T14:57:43.685" v="1041"/>
          <ac:picMkLst>
            <pc:docMk/>
            <pc:sldMk cId="2077853568" sldId="2147469267"/>
            <ac:picMk id="36" creationId="{0CF98FD2-41D2-E89B-11F4-CC32E283CA9A}"/>
          </ac:picMkLst>
        </pc:picChg>
        <pc:picChg chg="add mod">
          <ac:chgData name="Cyrille Scuri" userId="0ff3ad52-7312-41f1-b45c-1187e0d5d8d9" providerId="ADAL" clId="{32CD123D-3778-4AB7-AB91-6EAFB4AF5BAA}" dt="2022-05-12T14:57:43.685" v="1041"/>
          <ac:picMkLst>
            <pc:docMk/>
            <pc:sldMk cId="2077853568" sldId="2147469267"/>
            <ac:picMk id="37" creationId="{652AA8EB-63B5-7DB4-00D7-EFFACF6A4044}"/>
          </ac:picMkLst>
        </pc:picChg>
        <pc:picChg chg="add mod">
          <ac:chgData name="Cyrille Scuri" userId="0ff3ad52-7312-41f1-b45c-1187e0d5d8d9" providerId="ADAL" clId="{32CD123D-3778-4AB7-AB91-6EAFB4AF5BAA}" dt="2022-05-12T14:57:43.685" v="1041"/>
          <ac:picMkLst>
            <pc:docMk/>
            <pc:sldMk cId="2077853568" sldId="2147469267"/>
            <ac:picMk id="38" creationId="{229D9D98-AE8A-91B3-DEAF-E6EFC55CC6DE}"/>
          </ac:picMkLst>
        </pc:picChg>
        <pc:picChg chg="add del mod">
          <ac:chgData name="Cyrille Scuri" userId="0ff3ad52-7312-41f1-b45c-1187e0d5d8d9" providerId="ADAL" clId="{32CD123D-3778-4AB7-AB91-6EAFB4AF5BAA}" dt="2022-05-12T14:59:56.388" v="1066" actId="478"/>
          <ac:picMkLst>
            <pc:docMk/>
            <pc:sldMk cId="2077853568" sldId="2147469267"/>
            <ac:picMk id="39" creationId="{02F951FE-EF92-D98D-0E4D-986EC5500DFC}"/>
          </ac:picMkLst>
        </pc:picChg>
        <pc:picChg chg="add del mod">
          <ac:chgData name="Cyrille Scuri" userId="0ff3ad52-7312-41f1-b45c-1187e0d5d8d9" providerId="ADAL" clId="{32CD123D-3778-4AB7-AB91-6EAFB4AF5BAA}" dt="2022-05-12T14:59:58.411" v="1067" actId="478"/>
          <ac:picMkLst>
            <pc:docMk/>
            <pc:sldMk cId="2077853568" sldId="2147469267"/>
            <ac:picMk id="40" creationId="{EAB08B09-B360-A391-6BD6-D1596487A2EC}"/>
          </ac:picMkLst>
        </pc:picChg>
        <pc:picChg chg="add del mod">
          <ac:chgData name="Cyrille Scuri" userId="0ff3ad52-7312-41f1-b45c-1187e0d5d8d9" providerId="ADAL" clId="{32CD123D-3778-4AB7-AB91-6EAFB4AF5BAA}" dt="2022-05-12T14:59:55.255" v="1065" actId="478"/>
          <ac:picMkLst>
            <pc:docMk/>
            <pc:sldMk cId="2077853568" sldId="2147469267"/>
            <ac:picMk id="41" creationId="{E4ABF9E3-DA56-4801-8364-3A79391F2D1A}"/>
          </ac:picMkLst>
        </pc:picChg>
        <pc:picChg chg="add del mod">
          <ac:chgData name="Cyrille Scuri" userId="0ff3ad52-7312-41f1-b45c-1187e0d5d8d9" providerId="ADAL" clId="{32CD123D-3778-4AB7-AB91-6EAFB4AF5BAA}" dt="2022-05-12T15:06:48.177" v="1547" actId="478"/>
          <ac:picMkLst>
            <pc:docMk/>
            <pc:sldMk cId="2077853568" sldId="2147469267"/>
            <ac:picMk id="42" creationId="{2FEE2057-6554-1F05-4CF1-17E1F7F5961C}"/>
          </ac:picMkLst>
        </pc:picChg>
        <pc:picChg chg="add del mod">
          <ac:chgData name="Cyrille Scuri" userId="0ff3ad52-7312-41f1-b45c-1187e0d5d8d9" providerId="ADAL" clId="{32CD123D-3778-4AB7-AB91-6EAFB4AF5BAA}" dt="2022-05-12T15:06:47.466" v="1546" actId="478"/>
          <ac:picMkLst>
            <pc:docMk/>
            <pc:sldMk cId="2077853568" sldId="2147469267"/>
            <ac:picMk id="43" creationId="{EAE2ACAE-FC2C-7933-F9AB-D48FCDC0148D}"/>
          </ac:picMkLst>
        </pc:picChg>
        <pc:picChg chg="add del mod">
          <ac:chgData name="Cyrille Scuri" userId="0ff3ad52-7312-41f1-b45c-1187e0d5d8d9" providerId="ADAL" clId="{32CD123D-3778-4AB7-AB91-6EAFB4AF5BAA}" dt="2022-05-12T15:06:46.614" v="1545" actId="478"/>
          <ac:picMkLst>
            <pc:docMk/>
            <pc:sldMk cId="2077853568" sldId="2147469267"/>
            <ac:picMk id="44" creationId="{FA7D83E6-4279-A9CB-7624-657D6A255046}"/>
          </ac:picMkLst>
        </pc:picChg>
        <pc:picChg chg="add del mod">
          <ac:chgData name="Cyrille Scuri" userId="0ff3ad52-7312-41f1-b45c-1187e0d5d8d9" providerId="ADAL" clId="{32CD123D-3778-4AB7-AB91-6EAFB4AF5BAA}" dt="2022-05-12T15:11:29.610" v="1602" actId="478"/>
          <ac:picMkLst>
            <pc:docMk/>
            <pc:sldMk cId="2077853568" sldId="2147469267"/>
            <ac:picMk id="45" creationId="{A8A2A4F2-9959-0FE0-90E1-247F7DA1B1A8}"/>
          </ac:picMkLst>
        </pc:picChg>
        <pc:picChg chg="add del mod">
          <ac:chgData name="Cyrille Scuri" userId="0ff3ad52-7312-41f1-b45c-1187e0d5d8d9" providerId="ADAL" clId="{32CD123D-3778-4AB7-AB91-6EAFB4AF5BAA}" dt="2022-05-12T15:11:30.222" v="1603" actId="478"/>
          <ac:picMkLst>
            <pc:docMk/>
            <pc:sldMk cId="2077853568" sldId="2147469267"/>
            <ac:picMk id="46" creationId="{753647E2-AF09-BEA4-AFF8-887696A443A4}"/>
          </ac:picMkLst>
        </pc:picChg>
        <pc:picChg chg="add del mod">
          <ac:chgData name="Cyrille Scuri" userId="0ff3ad52-7312-41f1-b45c-1187e0d5d8d9" providerId="ADAL" clId="{32CD123D-3778-4AB7-AB91-6EAFB4AF5BAA}" dt="2022-05-12T15:11:28.922" v="1601" actId="478"/>
          <ac:picMkLst>
            <pc:docMk/>
            <pc:sldMk cId="2077853568" sldId="2147469267"/>
            <ac:picMk id="47" creationId="{6A0A8EBB-1B95-5B25-E6D1-9A6B13137E3C}"/>
          </ac:picMkLst>
        </pc:picChg>
        <pc:picChg chg="add mod ord">
          <ac:chgData name="Cyrille Scuri" userId="0ff3ad52-7312-41f1-b45c-1187e0d5d8d9" providerId="ADAL" clId="{32CD123D-3778-4AB7-AB91-6EAFB4AF5BAA}" dt="2022-05-12T15:36:33.056" v="2011" actId="1035"/>
          <ac:picMkLst>
            <pc:docMk/>
            <pc:sldMk cId="2077853568" sldId="2147469267"/>
            <ac:picMk id="48" creationId="{F7C5D234-759B-F7EB-7C0E-86D70FC0AE22}"/>
          </ac:picMkLst>
        </pc:picChg>
        <pc:picChg chg="add mod ord">
          <ac:chgData name="Cyrille Scuri" userId="0ff3ad52-7312-41f1-b45c-1187e0d5d8d9" providerId="ADAL" clId="{32CD123D-3778-4AB7-AB91-6EAFB4AF5BAA}" dt="2022-05-12T15:38:21.672" v="2058" actId="688"/>
          <ac:picMkLst>
            <pc:docMk/>
            <pc:sldMk cId="2077853568" sldId="2147469267"/>
            <ac:picMk id="49" creationId="{104E9A8F-025C-A3B7-D7E2-B9581F1CB0BE}"/>
          </ac:picMkLst>
        </pc:picChg>
        <pc:picChg chg="add mod ord">
          <ac:chgData name="Cyrille Scuri" userId="0ff3ad52-7312-41f1-b45c-1187e0d5d8d9" providerId="ADAL" clId="{32CD123D-3778-4AB7-AB91-6EAFB4AF5BAA}" dt="2022-05-12T15:38:07.967" v="2050" actId="688"/>
          <ac:picMkLst>
            <pc:docMk/>
            <pc:sldMk cId="2077853568" sldId="2147469267"/>
            <ac:picMk id="50" creationId="{947426ED-910A-BEB5-3ABB-286FE8F0B440}"/>
          </ac:picMkLst>
        </pc:picChg>
        <pc:picChg chg="add mod">
          <ac:chgData name="Cyrille Scuri" userId="0ff3ad52-7312-41f1-b45c-1187e0d5d8d9" providerId="ADAL" clId="{32CD123D-3778-4AB7-AB91-6EAFB4AF5BAA}" dt="2022-05-12T15:49:01.151" v="2297" actId="1036"/>
          <ac:picMkLst>
            <pc:docMk/>
            <pc:sldMk cId="2077853568" sldId="2147469267"/>
            <ac:picMk id="52" creationId="{76B0A9B3-8DCF-A3F8-FC78-0C866F5EA164}"/>
          </ac:picMkLst>
        </pc:picChg>
      </pc:sldChg>
      <pc:sldChg chg="addSp delSp modSp add mod delAnim modAnim modNotesTx">
        <pc:chgData name="Cyrille Scuri" userId="0ff3ad52-7312-41f1-b45c-1187e0d5d8d9" providerId="ADAL" clId="{32CD123D-3778-4AB7-AB91-6EAFB4AF5BAA}" dt="2022-05-12T18:17:48.929" v="3259" actId="20577"/>
        <pc:sldMkLst>
          <pc:docMk/>
          <pc:sldMk cId="855317441" sldId="2147469268"/>
        </pc:sldMkLst>
        <pc:spChg chg="add mod">
          <ac:chgData name="Cyrille Scuri" userId="0ff3ad52-7312-41f1-b45c-1187e0d5d8d9" providerId="ADAL" clId="{32CD123D-3778-4AB7-AB91-6EAFB4AF5BAA}" dt="2022-05-12T18:17:31.163" v="3207" actId="13926"/>
          <ac:spMkLst>
            <pc:docMk/>
            <pc:sldMk cId="855317441" sldId="2147469268"/>
            <ac:spMk id="2" creationId="{2FDF0060-6703-6BC0-EE36-9B831FBFBF59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" creationId="{92500EFC-03E7-E8D8-62F8-DD855007CA49}"/>
          </ac:spMkLst>
        </pc:spChg>
        <pc:spChg chg="mod">
          <ac:chgData name="Cyrille Scuri" userId="0ff3ad52-7312-41f1-b45c-1187e0d5d8d9" providerId="ADAL" clId="{32CD123D-3778-4AB7-AB91-6EAFB4AF5BAA}" dt="2022-05-12T15:59:56.568" v="2583" actId="207"/>
          <ac:spMkLst>
            <pc:docMk/>
            <pc:sldMk cId="855317441" sldId="2147469268"/>
            <ac:spMk id="8" creationId="{6EF9D717-1998-7D45-9EBE-55CF8691A10F}"/>
          </ac:spMkLst>
        </pc:spChg>
        <pc:spChg chg="del">
          <ac:chgData name="Cyrille Scuri" userId="0ff3ad52-7312-41f1-b45c-1187e0d5d8d9" providerId="ADAL" clId="{32CD123D-3778-4AB7-AB91-6EAFB4AF5BAA}" dt="2022-05-12T15:50:56.013" v="2350" actId="478"/>
          <ac:spMkLst>
            <pc:docMk/>
            <pc:sldMk cId="855317441" sldId="2147469268"/>
            <ac:spMk id="13" creationId="{099AE5D9-193E-F620-153A-4AF5D288CDAA}"/>
          </ac:spMkLst>
        </pc:spChg>
        <pc:spChg chg="add mod">
          <ac:chgData name="Cyrille Scuri" userId="0ff3ad52-7312-41f1-b45c-1187e0d5d8d9" providerId="ADAL" clId="{32CD123D-3778-4AB7-AB91-6EAFB4AF5BAA}" dt="2022-05-12T18:17:48.929" v="3259" actId="20577"/>
          <ac:spMkLst>
            <pc:docMk/>
            <pc:sldMk cId="855317441" sldId="2147469268"/>
            <ac:spMk id="13" creationId="{2462A101-574E-1DE6-5CBC-CEEC44E4C750}"/>
          </ac:spMkLst>
        </pc:spChg>
        <pc:spChg chg="del">
          <ac:chgData name="Cyrille Scuri" userId="0ff3ad52-7312-41f1-b45c-1187e0d5d8d9" providerId="ADAL" clId="{32CD123D-3778-4AB7-AB91-6EAFB4AF5BAA}" dt="2022-05-12T15:50:55.393" v="2349" actId="478"/>
          <ac:spMkLst>
            <pc:docMk/>
            <pc:sldMk cId="855317441" sldId="2147469268"/>
            <ac:spMk id="18" creationId="{B42FBA2E-4AEE-DC6F-581D-AD55672D18C5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19" creationId="{4373FE4A-0D9F-262D-101F-E912585B8921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1" creationId="{C698F22C-0EE0-E0D7-AA90-05BCEFF31B6A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2" creationId="{0364D1B2-E703-407C-9965-08B42A8E8E5D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3" creationId="{A80486F2-A449-4473-12E1-32BB32500DF7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4" creationId="{15ED80B1-4138-43B3-BF52-F8405EAC5F3D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5" creationId="{26CF0794-8426-5D6E-A57B-8C429EC2D974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6" creationId="{31F1B025-F269-F169-E491-F0E8D6125B15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7" creationId="{81C348B1-FBA1-C3B7-269C-053AD6CD770B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8" creationId="{47A1438B-5C80-C259-2CAE-377D63EA55F7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29" creationId="{1B08C2B9-5946-E873-8591-54B3E76294B3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1" creationId="{E4CF6F43-17FA-2989-F0F2-9F9F08040108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2" creationId="{0FF6CF9A-398E-D250-ABD4-584178077283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3" creationId="{52563BE4-9003-06C4-8AB1-EBB68604E44C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4" creationId="{8567A002-CCEB-1EA4-914F-AD2F89EA355B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35" creationId="{C8A6C481-BA97-1151-1C57-26D3197EF10C}"/>
          </ac:spMkLst>
        </pc:spChg>
        <pc:spChg chg="add del mod">
          <ac:chgData name="Cyrille Scuri" userId="0ff3ad52-7312-41f1-b45c-1187e0d5d8d9" providerId="ADAL" clId="{32CD123D-3778-4AB7-AB91-6EAFB4AF5BAA}" dt="2022-05-12T15:54:00.178" v="2498" actId="478"/>
          <ac:spMkLst>
            <pc:docMk/>
            <pc:sldMk cId="855317441" sldId="2147469268"/>
            <ac:spMk id="40" creationId="{BC899441-F395-FE60-377D-4353EF048601}"/>
          </ac:spMkLst>
        </pc:spChg>
        <pc:spChg chg="add mod">
          <ac:chgData name="Cyrille Scuri" userId="0ff3ad52-7312-41f1-b45c-1187e0d5d8d9" providerId="ADAL" clId="{32CD123D-3778-4AB7-AB91-6EAFB4AF5BAA}" dt="2022-05-12T18:17:02.389" v="3165" actId="1037"/>
          <ac:spMkLst>
            <pc:docMk/>
            <pc:sldMk cId="855317441" sldId="2147469268"/>
            <ac:spMk id="41" creationId="{4F318C15-526A-E1CF-A2A3-DF266BB9A3BC}"/>
          </ac:spMkLst>
        </pc:spChg>
        <pc:spChg chg="del">
          <ac:chgData name="Cyrille Scuri" userId="0ff3ad52-7312-41f1-b45c-1187e0d5d8d9" providerId="ADAL" clId="{32CD123D-3778-4AB7-AB91-6EAFB4AF5BAA}" dt="2022-05-12T15:50:53.056" v="2348" actId="478"/>
          <ac:spMkLst>
            <pc:docMk/>
            <pc:sldMk cId="855317441" sldId="2147469268"/>
            <ac:spMk id="51" creationId="{0E951746-9548-2583-592F-DCF4BEE9F9BC}"/>
          </ac:spMkLst>
        </pc:sp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36" creationId="{0CF98FD2-41D2-E89B-11F4-CC32E283CA9A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37" creationId="{652AA8EB-63B5-7DB4-00D7-EFFACF6A4044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38" creationId="{229D9D98-AE8A-91B3-DEAF-E6EFC55CC6DE}"/>
          </ac:picMkLst>
        </pc:picChg>
        <pc:picChg chg="add mod">
          <ac:chgData name="Cyrille Scuri" userId="0ff3ad52-7312-41f1-b45c-1187e0d5d8d9" providerId="ADAL" clId="{32CD123D-3778-4AB7-AB91-6EAFB4AF5BAA}" dt="2022-05-12T18:16:55.699" v="3152" actId="14100"/>
          <ac:picMkLst>
            <pc:docMk/>
            <pc:sldMk cId="855317441" sldId="2147469268"/>
            <ac:picMk id="39" creationId="{3AECFEF0-2B44-725A-7387-37F49BE91547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48" creationId="{F7C5D234-759B-F7EB-7C0E-86D70FC0AE22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49" creationId="{104E9A8F-025C-A3B7-D7E2-B9581F1CB0BE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50" creationId="{947426ED-910A-BEB5-3ABB-286FE8F0B440}"/>
          </ac:picMkLst>
        </pc:picChg>
        <pc:picChg chg="del">
          <ac:chgData name="Cyrille Scuri" userId="0ff3ad52-7312-41f1-b45c-1187e0d5d8d9" providerId="ADAL" clId="{32CD123D-3778-4AB7-AB91-6EAFB4AF5BAA}" dt="2022-05-12T15:50:53.056" v="2348" actId="478"/>
          <ac:picMkLst>
            <pc:docMk/>
            <pc:sldMk cId="855317441" sldId="2147469268"/>
            <ac:picMk id="52" creationId="{76B0A9B3-8DCF-A3F8-FC78-0C866F5EA164}"/>
          </ac:picMkLst>
        </pc:picChg>
      </pc:sldChg>
      <pc:sldChg chg="addSp delSp modSp add del mod">
        <pc:chgData name="Cyrille Scuri" userId="0ff3ad52-7312-41f1-b45c-1187e0d5d8d9" providerId="ADAL" clId="{32CD123D-3778-4AB7-AB91-6EAFB4AF5BAA}" dt="2022-05-12T15:43:06.027" v="2098" actId="47"/>
        <pc:sldMkLst>
          <pc:docMk/>
          <pc:sldMk cId="1986175425" sldId="2147469268"/>
        </pc:sldMkLst>
        <pc:spChg chg="mod ord">
          <ac:chgData name="Cyrille Scuri" userId="0ff3ad52-7312-41f1-b45c-1187e0d5d8d9" providerId="ADAL" clId="{32CD123D-3778-4AB7-AB91-6EAFB4AF5BAA}" dt="2022-05-12T15:04:51.627" v="1340" actId="1076"/>
          <ac:spMkLst>
            <pc:docMk/>
            <pc:sldMk cId="1986175425" sldId="2147469268"/>
            <ac:spMk id="30" creationId="{F9490878-E307-877A-D4F8-B86DFE6AEB8A}"/>
          </ac:spMkLst>
        </pc:spChg>
        <pc:picChg chg="add del mod">
          <ac:chgData name="Cyrille Scuri" userId="0ff3ad52-7312-41f1-b45c-1187e0d5d8d9" providerId="ADAL" clId="{32CD123D-3778-4AB7-AB91-6EAFB4AF5BAA}" dt="2022-05-12T15:05:39.983" v="1373" actId="478"/>
          <ac:picMkLst>
            <pc:docMk/>
            <pc:sldMk cId="1986175425" sldId="2147469268"/>
            <ac:picMk id="39" creationId="{CDFC534E-0BA4-27C4-6D00-477A18EA0655}"/>
          </ac:picMkLst>
        </pc:picChg>
        <pc:picChg chg="add del mod">
          <ac:chgData name="Cyrille Scuri" userId="0ff3ad52-7312-41f1-b45c-1187e0d5d8d9" providerId="ADAL" clId="{32CD123D-3778-4AB7-AB91-6EAFB4AF5BAA}" dt="2022-05-12T15:05:40.867" v="1374" actId="478"/>
          <ac:picMkLst>
            <pc:docMk/>
            <pc:sldMk cId="1986175425" sldId="2147469268"/>
            <ac:picMk id="40" creationId="{3571518F-4509-7F42-D92F-7A15E83B061E}"/>
          </ac:picMkLst>
        </pc:picChg>
        <pc:picChg chg="add del mod ord">
          <ac:chgData name="Cyrille Scuri" userId="0ff3ad52-7312-41f1-b45c-1187e0d5d8d9" providerId="ADAL" clId="{32CD123D-3778-4AB7-AB91-6EAFB4AF5BAA}" dt="2022-05-12T15:05:39.090" v="1372" actId="478"/>
          <ac:picMkLst>
            <pc:docMk/>
            <pc:sldMk cId="1986175425" sldId="2147469268"/>
            <ac:picMk id="41" creationId="{5CE6301A-F5A2-1643-99F5-D7B816CA5CDD}"/>
          </ac:picMkLst>
        </pc:picChg>
        <pc:picChg chg="del">
          <ac:chgData name="Cyrille Scuri" userId="0ff3ad52-7312-41f1-b45c-1187e0d5d8d9" providerId="ADAL" clId="{32CD123D-3778-4AB7-AB91-6EAFB4AF5BAA}" dt="2022-05-12T15:02:18.103" v="1233" actId="478"/>
          <ac:picMkLst>
            <pc:docMk/>
            <pc:sldMk cId="1986175425" sldId="2147469268"/>
            <ac:picMk id="42" creationId="{2FEE2057-6554-1F05-4CF1-17E1F7F5961C}"/>
          </ac:picMkLst>
        </pc:picChg>
        <pc:picChg chg="del">
          <ac:chgData name="Cyrille Scuri" userId="0ff3ad52-7312-41f1-b45c-1187e0d5d8d9" providerId="ADAL" clId="{32CD123D-3778-4AB7-AB91-6EAFB4AF5BAA}" dt="2022-05-12T15:02:18.770" v="1234" actId="478"/>
          <ac:picMkLst>
            <pc:docMk/>
            <pc:sldMk cId="1986175425" sldId="2147469268"/>
            <ac:picMk id="43" creationId="{EAE2ACAE-FC2C-7933-F9AB-D48FCDC0148D}"/>
          </ac:picMkLst>
        </pc:picChg>
        <pc:picChg chg="del">
          <ac:chgData name="Cyrille Scuri" userId="0ff3ad52-7312-41f1-b45c-1187e0d5d8d9" providerId="ADAL" clId="{32CD123D-3778-4AB7-AB91-6EAFB4AF5BAA}" dt="2022-05-12T15:02:14.715" v="1232" actId="478"/>
          <ac:picMkLst>
            <pc:docMk/>
            <pc:sldMk cId="1986175425" sldId="2147469268"/>
            <ac:picMk id="44" creationId="{FA7D83E6-4279-A9CB-7624-657D6A255046}"/>
          </ac:picMkLst>
        </pc:picChg>
        <pc:picChg chg="add mod">
          <ac:chgData name="Cyrille Scuri" userId="0ff3ad52-7312-41f1-b45c-1187e0d5d8d9" providerId="ADAL" clId="{32CD123D-3778-4AB7-AB91-6EAFB4AF5BAA}" dt="2022-05-12T15:06:14.394" v="1490" actId="1036"/>
          <ac:picMkLst>
            <pc:docMk/>
            <pc:sldMk cId="1986175425" sldId="2147469268"/>
            <ac:picMk id="45" creationId="{22A86401-CBB6-1E0F-4F39-3D0F2F9BC2AA}"/>
          </ac:picMkLst>
        </pc:picChg>
        <pc:picChg chg="add mod">
          <ac:chgData name="Cyrille Scuri" userId="0ff3ad52-7312-41f1-b45c-1187e0d5d8d9" providerId="ADAL" clId="{32CD123D-3778-4AB7-AB91-6EAFB4AF5BAA}" dt="2022-05-12T15:06:26.140" v="1535" actId="1035"/>
          <ac:picMkLst>
            <pc:docMk/>
            <pc:sldMk cId="1986175425" sldId="2147469268"/>
            <ac:picMk id="46" creationId="{8F2DB3FF-B795-7754-106D-09F6E09C8C8F}"/>
          </ac:picMkLst>
        </pc:picChg>
        <pc:picChg chg="add mod">
          <ac:chgData name="Cyrille Scuri" userId="0ff3ad52-7312-41f1-b45c-1187e0d5d8d9" providerId="ADAL" clId="{32CD123D-3778-4AB7-AB91-6EAFB4AF5BAA}" dt="2022-05-12T15:06:30.652" v="1543" actId="1038"/>
          <ac:picMkLst>
            <pc:docMk/>
            <pc:sldMk cId="1986175425" sldId="2147469268"/>
            <ac:picMk id="47" creationId="{FEAD3691-D8F5-AFDC-B8C0-EDC197589CE7}"/>
          </ac:picMkLst>
        </pc:picChg>
      </pc:sldChg>
      <pc:sldChg chg="delSp modSp add del mod">
        <pc:chgData name="Cyrille Scuri" userId="0ff3ad52-7312-41f1-b45c-1187e0d5d8d9" providerId="ADAL" clId="{32CD123D-3778-4AB7-AB91-6EAFB4AF5BAA}" dt="2022-05-12T15:43:52.472" v="2129" actId="47"/>
        <pc:sldMkLst>
          <pc:docMk/>
          <pc:sldMk cId="1659495482" sldId="2147469269"/>
        </pc:sldMkLst>
        <pc:spChg chg="del">
          <ac:chgData name="Cyrille Scuri" userId="0ff3ad52-7312-41f1-b45c-1187e0d5d8d9" providerId="ADAL" clId="{32CD123D-3778-4AB7-AB91-6EAFB4AF5BAA}" dt="2022-05-12T15:05:20.523" v="1368" actId="478"/>
          <ac:spMkLst>
            <pc:docMk/>
            <pc:sldMk cId="1659495482" sldId="2147469269"/>
            <ac:spMk id="8" creationId="{29EA6E1C-916D-2541-9A73-39104C24F548}"/>
          </ac:spMkLst>
        </pc:spChg>
        <pc:spChg chg="del">
          <ac:chgData name="Cyrille Scuri" userId="0ff3ad52-7312-41f1-b45c-1187e0d5d8d9" providerId="ADAL" clId="{32CD123D-3778-4AB7-AB91-6EAFB4AF5BAA}" dt="2022-05-12T15:05:21.760" v="1369" actId="478"/>
          <ac:spMkLst>
            <pc:docMk/>
            <pc:sldMk cId="1659495482" sldId="2147469269"/>
            <ac:spMk id="69" creationId="{FF7F21E9-730B-5F47-B48F-E40A40404FF4}"/>
          </ac:spMkLst>
        </pc:spChg>
        <pc:picChg chg="mod">
          <ac:chgData name="Cyrille Scuri" userId="0ff3ad52-7312-41f1-b45c-1187e0d5d8d9" providerId="ADAL" clId="{32CD123D-3778-4AB7-AB91-6EAFB4AF5BAA}" dt="2022-05-12T15:13:28.583" v="1716" actId="1076"/>
          <ac:picMkLst>
            <pc:docMk/>
            <pc:sldMk cId="1659495482" sldId="2147469269"/>
            <ac:picMk id="98" creationId="{5C3C6F02-1D11-4048-9815-5DE2D4AEC6D8}"/>
          </ac:picMkLst>
        </pc:picChg>
        <pc:picChg chg="mod">
          <ac:chgData name="Cyrille Scuri" userId="0ff3ad52-7312-41f1-b45c-1187e0d5d8d9" providerId="ADAL" clId="{32CD123D-3778-4AB7-AB91-6EAFB4AF5BAA}" dt="2022-05-12T15:13:27.770" v="1715" actId="1076"/>
          <ac:picMkLst>
            <pc:docMk/>
            <pc:sldMk cId="1659495482" sldId="2147469269"/>
            <ac:picMk id="99" creationId="{32474178-88BA-F245-89E1-F21CCD735DEE}"/>
          </ac:picMkLst>
        </pc:picChg>
        <pc:picChg chg="mod">
          <ac:chgData name="Cyrille Scuri" userId="0ff3ad52-7312-41f1-b45c-1187e0d5d8d9" providerId="ADAL" clId="{32CD123D-3778-4AB7-AB91-6EAFB4AF5BAA}" dt="2022-05-12T15:13:26.537" v="1714" actId="1076"/>
          <ac:picMkLst>
            <pc:docMk/>
            <pc:sldMk cId="1659495482" sldId="2147469269"/>
            <ac:picMk id="100" creationId="{35B6D468-2237-E04A-8659-7AF1D93A2365}"/>
          </ac:picMkLst>
        </pc:picChg>
      </pc:sldChg>
      <pc:sldChg chg="addSp delSp modSp add mod ord">
        <pc:chgData name="Cyrille Scuri" userId="0ff3ad52-7312-41f1-b45c-1187e0d5d8d9" providerId="ADAL" clId="{32CD123D-3778-4AB7-AB91-6EAFB4AF5BAA}" dt="2022-05-12T18:18:12.210" v="3277" actId="1076"/>
        <pc:sldMkLst>
          <pc:docMk/>
          <pc:sldMk cId="2491877017" sldId="2147469269"/>
        </pc:sldMkLst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9" creationId="{4960EDDB-F8D1-F6DB-B552-3C5F854BA9A9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16" creationId="{8EC75922-816C-0BBD-8DF7-80E21D567DA6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17" creationId="{F2884A5E-248E-13A4-B927-F57ED3F1DC45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19" creationId="{FCC17758-132B-DA1C-BA98-FA1866F68ACA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21" creationId="{34F3B6BF-45E5-0AC8-6D4B-21268F864D3E}"/>
          </ac:spMkLst>
        </pc:spChg>
        <pc:spChg chg="add mod">
          <ac:chgData name="Cyrille Scuri" userId="0ff3ad52-7312-41f1-b45c-1187e0d5d8d9" providerId="ADAL" clId="{32CD123D-3778-4AB7-AB91-6EAFB4AF5BAA}" dt="2022-05-12T18:18:12.210" v="3277" actId="1076"/>
          <ac:spMkLst>
            <pc:docMk/>
            <pc:sldMk cId="2491877017" sldId="2147469269"/>
            <ac:spMk id="22" creationId="{48AEAFC4-95F3-9C3B-B004-0A191831C76C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25" creationId="{64D86DC7-2D1C-9E98-0C2A-DC6570243825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26" creationId="{ACA80F25-91C7-E5F4-9916-056EE30CB1CC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42" creationId="{93BC8AC4-DDA6-5A6B-F6B7-B39A41E692DE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44" creationId="{BEFC8BA0-1566-DDAA-99EC-C0FC0F612E35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45" creationId="{00433A57-66DC-4C08-D6AC-05C0AB6F0A41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46" creationId="{6BACA7C8-D66C-CD7E-B577-180D3F550A1B}"/>
          </ac:spMkLst>
        </pc:spChg>
        <pc:spChg chg="del">
          <ac:chgData name="Cyrille Scuri" userId="0ff3ad52-7312-41f1-b45c-1187e0d5d8d9" providerId="ADAL" clId="{32CD123D-3778-4AB7-AB91-6EAFB4AF5BAA}" dt="2022-05-12T15:57:26.574" v="2518" actId="478"/>
          <ac:spMkLst>
            <pc:docMk/>
            <pc:sldMk cId="2491877017" sldId="2147469269"/>
            <ac:spMk id="47" creationId="{4061C3E2-CA3C-BD8C-EA34-8856BCDF67F9}"/>
          </ac:spMkLst>
        </pc:spChg>
        <pc:spChg chg="del">
          <ac:chgData name="Cyrille Scuri" userId="0ff3ad52-7312-41f1-b45c-1187e0d5d8d9" providerId="ADAL" clId="{32CD123D-3778-4AB7-AB91-6EAFB4AF5BAA}" dt="2022-05-12T15:58:20.357" v="2553" actId="478"/>
          <ac:spMkLst>
            <pc:docMk/>
            <pc:sldMk cId="2491877017" sldId="2147469269"/>
            <ac:spMk id="48" creationId="{FF8DEF63-8E15-1F43-BF82-62C7EE134766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64" creationId="{1ED53279-171A-638E-582F-29932BFB617D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0" creationId="{7749C495-7885-FB70-DBFB-E801D7C27793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1" creationId="{F7C83EC3-5E9C-4DCC-CE35-EA918AF636A9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2" creationId="{758CFF4F-3433-0B47-91D8-472E6D549691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3" creationId="{B68DCE7F-ECE8-9929-CEC9-BC29A4B89B12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4" creationId="{BB76DE40-D274-0643-AC0D-12C5F8F34CBE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79" creationId="{5BFE528A-275C-77E1-A6FB-2E09409B0E0E}"/>
          </ac:spMkLst>
        </pc:spChg>
        <pc:spChg chg="add del mod">
          <ac:chgData name="Cyrille Scuri" userId="0ff3ad52-7312-41f1-b45c-1187e0d5d8d9" providerId="ADAL" clId="{32CD123D-3778-4AB7-AB91-6EAFB4AF5BAA}" dt="2022-05-12T15:57:37.682" v="2520"/>
          <ac:spMkLst>
            <pc:docMk/>
            <pc:sldMk cId="2491877017" sldId="2147469269"/>
            <ac:spMk id="80" creationId="{C696C111-F7DD-4DDC-50EA-B372A3821238}"/>
          </ac:spMkLst>
        </pc:spChg>
        <pc:spChg chg="mod">
          <ac:chgData name="Cyrille Scuri" userId="0ff3ad52-7312-41f1-b45c-1187e0d5d8d9" providerId="ADAL" clId="{32CD123D-3778-4AB7-AB91-6EAFB4AF5BAA}" dt="2022-05-12T15:57:44.963" v="2521"/>
          <ac:spMkLst>
            <pc:docMk/>
            <pc:sldMk cId="2491877017" sldId="2147469269"/>
            <ac:spMk id="82" creationId="{4B2D472C-E4F8-E2B6-8C4F-7E01796F0B04}"/>
          </ac:spMkLst>
        </pc:spChg>
        <pc:spChg chg="mod">
          <ac:chgData name="Cyrille Scuri" userId="0ff3ad52-7312-41f1-b45c-1187e0d5d8d9" providerId="ADAL" clId="{32CD123D-3778-4AB7-AB91-6EAFB4AF5BAA}" dt="2022-05-12T15:57:44.963" v="2521"/>
          <ac:spMkLst>
            <pc:docMk/>
            <pc:sldMk cId="2491877017" sldId="2147469269"/>
            <ac:spMk id="83" creationId="{28DC83D6-2B3B-1363-5B12-ED0212E1A512}"/>
          </ac:spMkLst>
        </pc:spChg>
        <pc:spChg chg="mod">
          <ac:chgData name="Cyrille Scuri" userId="0ff3ad52-7312-41f1-b45c-1187e0d5d8d9" providerId="ADAL" clId="{32CD123D-3778-4AB7-AB91-6EAFB4AF5BAA}" dt="2022-05-12T15:57:44.963" v="2521"/>
          <ac:spMkLst>
            <pc:docMk/>
            <pc:sldMk cId="2491877017" sldId="2147469269"/>
            <ac:spMk id="84" creationId="{BAED3050-4987-288F-2573-6EB6F1444574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87" creationId="{64A7B079-C54D-F3C0-DE72-6082A0251ED2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89" creationId="{347A0B42-D375-51BF-4FD6-DD45858BE0CB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0" creationId="{F50886D8-EC34-8FB4-C35F-F832CC5B4C9B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1" creationId="{23B71B65-CE00-1688-45EC-4401B3DBB535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2" creationId="{647DB194-D391-F274-66D3-0ECCB094DDFD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3" creationId="{0416EEE3-1B98-B0AC-6839-F7F2AFB64A7C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8" creationId="{A6D38A1B-5D1F-1E76-857E-D9F997805480}"/>
          </ac:spMkLst>
        </pc:spChg>
        <pc:spChg chg="add mod">
          <ac:chgData name="Cyrille Scuri" userId="0ff3ad52-7312-41f1-b45c-1187e0d5d8d9" providerId="ADAL" clId="{32CD123D-3778-4AB7-AB91-6EAFB4AF5BAA}" dt="2022-05-12T15:58:47.679" v="2574" actId="1035"/>
          <ac:spMkLst>
            <pc:docMk/>
            <pc:sldMk cId="2491877017" sldId="2147469269"/>
            <ac:spMk id="99" creationId="{D9647920-5CC5-6F4D-8352-AE8D8C545A32}"/>
          </ac:spMkLst>
        </pc:spChg>
        <pc:spChg chg="mod">
          <ac:chgData name="Cyrille Scuri" userId="0ff3ad52-7312-41f1-b45c-1187e0d5d8d9" providerId="ADAL" clId="{32CD123D-3778-4AB7-AB91-6EAFB4AF5BAA}" dt="2022-05-12T15:58:27.196" v="2555"/>
          <ac:spMkLst>
            <pc:docMk/>
            <pc:sldMk cId="2491877017" sldId="2147469269"/>
            <ac:spMk id="101" creationId="{E7EA747E-342A-5A45-D537-0998B03DF5D1}"/>
          </ac:spMkLst>
        </pc:spChg>
        <pc:spChg chg="mod">
          <ac:chgData name="Cyrille Scuri" userId="0ff3ad52-7312-41f1-b45c-1187e0d5d8d9" providerId="ADAL" clId="{32CD123D-3778-4AB7-AB91-6EAFB4AF5BAA}" dt="2022-05-12T15:58:27.196" v="2555"/>
          <ac:spMkLst>
            <pc:docMk/>
            <pc:sldMk cId="2491877017" sldId="2147469269"/>
            <ac:spMk id="102" creationId="{E1A6078A-3F4F-AD8A-BA5E-5DC5FAF51286}"/>
          </ac:spMkLst>
        </pc:spChg>
        <pc:spChg chg="mod">
          <ac:chgData name="Cyrille Scuri" userId="0ff3ad52-7312-41f1-b45c-1187e0d5d8d9" providerId="ADAL" clId="{32CD123D-3778-4AB7-AB91-6EAFB4AF5BAA}" dt="2022-05-12T15:58:27.196" v="2555"/>
          <ac:spMkLst>
            <pc:docMk/>
            <pc:sldMk cId="2491877017" sldId="2147469269"/>
            <ac:spMk id="103" creationId="{48B4A482-A74A-BC23-2EF8-11FB0F528B66}"/>
          </ac:spMkLst>
        </pc:spChg>
        <pc:spChg chg="add mod">
          <ac:chgData name="Cyrille Scuri" userId="0ff3ad52-7312-41f1-b45c-1187e0d5d8d9" providerId="ADAL" clId="{32CD123D-3778-4AB7-AB91-6EAFB4AF5BAA}" dt="2022-05-12T15:59:01.553" v="2576"/>
          <ac:spMkLst>
            <pc:docMk/>
            <pc:sldMk cId="2491877017" sldId="2147469269"/>
            <ac:spMk id="104" creationId="{A9410F86-465F-17E8-0A8E-D272C7AEBC61}"/>
          </ac:spMkLst>
        </pc:spChg>
        <pc:grpChg chg="del">
          <ac:chgData name="Cyrille Scuri" userId="0ff3ad52-7312-41f1-b45c-1187e0d5d8d9" providerId="ADAL" clId="{32CD123D-3778-4AB7-AB91-6EAFB4AF5BAA}" dt="2022-05-12T15:57:26.574" v="2518" actId="478"/>
          <ac:grpSpMkLst>
            <pc:docMk/>
            <pc:sldMk cId="2491877017" sldId="2147469269"/>
            <ac:grpSpMk id="10" creationId="{B4EFE0C3-0DF8-4256-0E16-EA93CD87DBD4}"/>
          </ac:grpSpMkLst>
        </pc:grpChg>
        <pc:grpChg chg="del">
          <ac:chgData name="Cyrille Scuri" userId="0ff3ad52-7312-41f1-b45c-1187e0d5d8d9" providerId="ADAL" clId="{32CD123D-3778-4AB7-AB91-6EAFB4AF5BAA}" dt="2022-05-12T15:57:26.574" v="2518" actId="478"/>
          <ac:grpSpMkLst>
            <pc:docMk/>
            <pc:sldMk cId="2491877017" sldId="2147469269"/>
            <ac:grpSpMk id="27" creationId="{D68C42F7-A240-E0A7-ED1B-C3CD083B8601}"/>
          </ac:grpSpMkLst>
        </pc:grpChg>
        <pc:grpChg chg="del">
          <ac:chgData name="Cyrille Scuri" userId="0ff3ad52-7312-41f1-b45c-1187e0d5d8d9" providerId="ADAL" clId="{32CD123D-3778-4AB7-AB91-6EAFB4AF5BAA}" dt="2022-05-12T15:57:26.574" v="2518" actId="478"/>
          <ac:grpSpMkLst>
            <pc:docMk/>
            <pc:sldMk cId="2491877017" sldId="2147469269"/>
            <ac:grpSpMk id="63" creationId="{331AD2C9-26D6-5B5F-9351-DA95B4A5BCEC}"/>
          </ac:grpSpMkLst>
        </pc:grpChg>
        <pc:grpChg chg="add del mod">
          <ac:chgData name="Cyrille Scuri" userId="0ff3ad52-7312-41f1-b45c-1187e0d5d8d9" providerId="ADAL" clId="{32CD123D-3778-4AB7-AB91-6EAFB4AF5BAA}" dt="2022-05-12T15:58:26.018" v="2554" actId="478"/>
          <ac:grpSpMkLst>
            <pc:docMk/>
            <pc:sldMk cId="2491877017" sldId="2147469269"/>
            <ac:grpSpMk id="81" creationId="{4EBE2A09-EB01-ABDB-33BB-55B0568019B8}"/>
          </ac:grpSpMkLst>
        </pc:grpChg>
        <pc:grpChg chg="add mod">
          <ac:chgData name="Cyrille Scuri" userId="0ff3ad52-7312-41f1-b45c-1187e0d5d8d9" providerId="ADAL" clId="{32CD123D-3778-4AB7-AB91-6EAFB4AF5BAA}" dt="2022-05-12T15:58:27.196" v="2555"/>
          <ac:grpSpMkLst>
            <pc:docMk/>
            <pc:sldMk cId="2491877017" sldId="2147469269"/>
            <ac:grpSpMk id="100" creationId="{99F92BF6-3526-5B0A-7678-5243D96503B3}"/>
          </ac:grpSpMkLst>
        </pc:grp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18" creationId="{2EDEAD0F-4481-82FE-08A3-9FDAD633D086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20" creationId="{079F1F8F-22FB-291F-F6F6-185FCF9BCB49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22" creationId="{F536E572-A9E7-9503-313F-AF57D12F2DD6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49" creationId="{A5A5BBC6-54D7-E3B1-FFE6-5E6AE7FED44A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0" creationId="{9089EA12-50E7-472F-06F4-ACB717351A4A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1" creationId="{41490B02-D6A0-B4A7-2C26-E691DC62B6E5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4" creationId="{EEFB1B0E-EE87-4539-AE41-EF095E19730A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5" creationId="{64F7ED7D-897A-3D71-EDCE-343BD3274908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6" creationId="{E9F25A16-8260-0D2D-6565-9B3E36A23690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7" creationId="{8A43B573-A590-6447-7B80-5C94C4107B30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8" creationId="{3DCC5BB0-1863-2AD2-7AD4-BA5319C122AA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59" creationId="{B7B6369A-B8F3-F817-7040-A23A7C2437F9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60" creationId="{0C59EB6C-6001-A9B6-E828-B1B1BDC88825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61" creationId="{EF5D4C11-45F5-DCBB-18E6-42560902A440}"/>
          </ac:picMkLst>
        </pc:picChg>
        <pc:picChg chg="del">
          <ac:chgData name="Cyrille Scuri" userId="0ff3ad52-7312-41f1-b45c-1187e0d5d8d9" providerId="ADAL" clId="{32CD123D-3778-4AB7-AB91-6EAFB4AF5BAA}" dt="2022-05-12T15:58:19.704" v="2552" actId="478"/>
          <ac:picMkLst>
            <pc:docMk/>
            <pc:sldMk cId="2491877017" sldId="2147469269"/>
            <ac:picMk id="62" creationId="{3E517682-4710-A1F4-B689-AF9CE0943900}"/>
          </ac:picMkLst>
        </pc:picChg>
        <pc:picChg chg="del">
          <ac:chgData name="Cyrille Scuri" userId="0ff3ad52-7312-41f1-b45c-1187e0d5d8d9" providerId="ADAL" clId="{32CD123D-3778-4AB7-AB91-6EAFB4AF5BAA}" dt="2022-05-12T15:57:26.574" v="2518" actId="478"/>
          <ac:picMkLst>
            <pc:docMk/>
            <pc:sldMk cId="2491877017" sldId="2147469269"/>
            <ac:picMk id="68" creationId="{23667EC5-62FD-057A-862F-E3EFBAC25E95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69" creationId="{6229F97E-90F1-984C-173A-60ABFAD45B7B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75" creationId="{108ED9DF-9202-581F-1693-49B64382B356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76" creationId="{F0919BE9-7376-D220-1E87-8B05666D854D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77" creationId="{8C3742DC-25B1-4984-ACBB-7DC4A1D67DFB}"/>
          </ac:picMkLst>
        </pc:picChg>
        <pc:picChg chg="add del mod">
          <ac:chgData name="Cyrille Scuri" userId="0ff3ad52-7312-41f1-b45c-1187e0d5d8d9" providerId="ADAL" clId="{32CD123D-3778-4AB7-AB91-6EAFB4AF5BAA}" dt="2022-05-12T15:57:37.682" v="2520"/>
          <ac:picMkLst>
            <pc:docMk/>
            <pc:sldMk cId="2491877017" sldId="2147469269"/>
            <ac:picMk id="78" creationId="{0C0AE901-262A-6773-2D2C-881C17F78341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85" creationId="{11860D6A-41E0-CC48-FC48-CF75577CD867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86" creationId="{FF0E93F1-A75A-4BE9-E622-9E1DD8D1BDBF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88" creationId="{0476D6B2-2BD4-7DC4-DCC5-02DB7572BF60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94" creationId="{1AE7520E-69EF-403A-4646-C072482DCECC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95" creationId="{FE6A7B09-594E-83B1-33CB-B24216D04DFC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96" creationId="{D2E66166-AAC8-8E61-4DFE-C63A283859EB}"/>
          </ac:picMkLst>
        </pc:picChg>
        <pc:picChg chg="add mod">
          <ac:chgData name="Cyrille Scuri" userId="0ff3ad52-7312-41f1-b45c-1187e0d5d8d9" providerId="ADAL" clId="{32CD123D-3778-4AB7-AB91-6EAFB4AF5BAA}" dt="2022-05-12T15:58:47.679" v="2574" actId="1035"/>
          <ac:picMkLst>
            <pc:docMk/>
            <pc:sldMk cId="2491877017" sldId="2147469269"/>
            <ac:picMk id="97" creationId="{92A27F37-A8F7-7693-ADEA-AF66E50E509B}"/>
          </ac:picMkLst>
        </pc:picChg>
      </pc:sldChg>
      <pc:sldChg chg="modSp new del mod">
        <pc:chgData name="Cyrille Scuri" userId="0ff3ad52-7312-41f1-b45c-1187e0d5d8d9" providerId="ADAL" clId="{32CD123D-3778-4AB7-AB91-6EAFB4AF5BAA}" dt="2022-05-12T18:22:17.074" v="3428" actId="47"/>
        <pc:sldMkLst>
          <pc:docMk/>
          <pc:sldMk cId="379375658" sldId="2147469270"/>
        </pc:sldMkLst>
        <pc:spChg chg="mod">
          <ac:chgData name="Cyrille Scuri" userId="0ff3ad52-7312-41f1-b45c-1187e0d5d8d9" providerId="ADAL" clId="{32CD123D-3778-4AB7-AB91-6EAFB4AF5BAA}" dt="2022-05-12T17:34:26.480" v="3133" actId="313"/>
          <ac:spMkLst>
            <pc:docMk/>
            <pc:sldMk cId="379375658" sldId="2147469270"/>
            <ac:spMk id="2" creationId="{CAE3E8C1-F51D-5937-D933-38C711F93251}"/>
          </ac:spMkLst>
        </pc:spChg>
      </pc:sldChg>
      <pc:sldChg chg="delSp modSp add del mod delAnim modAnim">
        <pc:chgData name="Cyrille Scuri" userId="0ff3ad52-7312-41f1-b45c-1187e0d5d8d9" providerId="ADAL" clId="{32CD123D-3778-4AB7-AB91-6EAFB4AF5BAA}" dt="2022-05-12T16:21:24.410" v="3097" actId="47"/>
        <pc:sldMkLst>
          <pc:docMk/>
          <pc:sldMk cId="3482149313" sldId="2147469270"/>
        </pc:sldMkLst>
        <pc:spChg chg="mod">
          <ac:chgData name="Cyrille Scuri" userId="0ff3ad52-7312-41f1-b45c-1187e0d5d8d9" providerId="ADAL" clId="{32CD123D-3778-4AB7-AB91-6EAFB4AF5BAA}" dt="2022-05-12T16:14:42.309" v="2818" actId="1076"/>
          <ac:spMkLst>
            <pc:docMk/>
            <pc:sldMk cId="3482149313" sldId="2147469270"/>
            <ac:spMk id="3" creationId="{92500EFC-03E7-E8D8-62F8-DD855007CA49}"/>
          </ac:spMkLst>
        </pc:spChg>
        <pc:picChg chg="del">
          <ac:chgData name="Cyrille Scuri" userId="0ff3ad52-7312-41f1-b45c-1187e0d5d8d9" providerId="ADAL" clId="{32CD123D-3778-4AB7-AB91-6EAFB4AF5BAA}" dt="2022-05-12T16:14:26.850" v="2815" actId="478"/>
          <ac:picMkLst>
            <pc:docMk/>
            <pc:sldMk cId="3482149313" sldId="2147469270"/>
            <ac:picMk id="48" creationId="{F7C5D234-759B-F7EB-7C0E-86D70FC0AE22}"/>
          </ac:picMkLst>
        </pc:picChg>
        <pc:picChg chg="del">
          <ac:chgData name="Cyrille Scuri" userId="0ff3ad52-7312-41f1-b45c-1187e0d5d8d9" providerId="ADAL" clId="{32CD123D-3778-4AB7-AB91-6EAFB4AF5BAA}" dt="2022-05-12T16:14:26.101" v="2814" actId="478"/>
          <ac:picMkLst>
            <pc:docMk/>
            <pc:sldMk cId="3482149313" sldId="2147469270"/>
            <ac:picMk id="49" creationId="{104E9A8F-025C-A3B7-D7E2-B9581F1CB0BE}"/>
          </ac:picMkLst>
        </pc:picChg>
        <pc:picChg chg="del">
          <ac:chgData name="Cyrille Scuri" userId="0ff3ad52-7312-41f1-b45c-1187e0d5d8d9" providerId="ADAL" clId="{32CD123D-3778-4AB7-AB91-6EAFB4AF5BAA}" dt="2022-05-12T16:14:25.442" v="2813" actId="478"/>
          <ac:picMkLst>
            <pc:docMk/>
            <pc:sldMk cId="3482149313" sldId="2147469270"/>
            <ac:picMk id="50" creationId="{947426ED-910A-BEB5-3ABB-286FE8F0B440}"/>
          </ac:picMkLst>
        </pc:picChg>
        <pc:picChg chg="del">
          <ac:chgData name="Cyrille Scuri" userId="0ff3ad52-7312-41f1-b45c-1187e0d5d8d9" providerId="ADAL" clId="{32CD123D-3778-4AB7-AB91-6EAFB4AF5BAA}" dt="2022-05-12T16:14:24.849" v="2812" actId="478"/>
          <ac:picMkLst>
            <pc:docMk/>
            <pc:sldMk cId="3482149313" sldId="2147469270"/>
            <ac:picMk id="52" creationId="{76B0A9B3-8DCF-A3F8-FC78-0C866F5EA164}"/>
          </ac:picMkLst>
        </pc:picChg>
      </pc:sldChg>
      <pc:sldChg chg="add del">
        <pc:chgData name="Cyrille Scuri" userId="0ff3ad52-7312-41f1-b45c-1187e0d5d8d9" providerId="ADAL" clId="{32CD123D-3778-4AB7-AB91-6EAFB4AF5BAA}" dt="2022-05-12T15:43:06.568" v="2099" actId="47"/>
        <pc:sldMkLst>
          <pc:docMk/>
          <pc:sldMk cId="4069605669" sldId="2147469270"/>
        </pc:sldMkLst>
      </pc:sldChg>
    </pc:docChg>
  </pc:docChgLst>
  <pc:docChgLst>
    <pc:chgData name="Cyrille Scuri" userId="0ff3ad52-7312-41f1-b45c-1187e0d5d8d9" providerId="ADAL" clId="{B3699060-207F-412C-A743-345124403A71}"/>
    <pc:docChg chg="undo custSel addSld delSld modSld delMainMaster">
      <pc:chgData name="Cyrille Scuri" userId="0ff3ad52-7312-41f1-b45c-1187e0d5d8d9" providerId="ADAL" clId="{B3699060-207F-412C-A743-345124403A71}" dt="2022-10-10T12:48:09.726" v="2406" actId="47"/>
      <pc:docMkLst>
        <pc:docMk/>
      </pc:docMkLst>
      <pc:sldChg chg="addSp delSp modSp mod">
        <pc:chgData name="Cyrille Scuri" userId="0ff3ad52-7312-41f1-b45c-1187e0d5d8d9" providerId="ADAL" clId="{B3699060-207F-412C-A743-345124403A71}" dt="2022-10-07T13:51:24.923" v="1868" actId="113"/>
        <pc:sldMkLst>
          <pc:docMk/>
          <pc:sldMk cId="158698144" sldId="2076138255"/>
        </pc:sldMkLst>
        <pc:spChg chg="del mod">
          <ac:chgData name="Cyrille Scuri" userId="0ff3ad52-7312-41f1-b45c-1187e0d5d8d9" providerId="ADAL" clId="{B3699060-207F-412C-A743-345124403A71}" dt="2022-10-07T13:34:44.712" v="1518" actId="478"/>
          <ac:spMkLst>
            <pc:docMk/>
            <pc:sldMk cId="158698144" sldId="2076138255"/>
            <ac:spMk id="2" creationId="{9D700165-7709-4448-9C72-78B6855F8163}"/>
          </ac:spMkLst>
        </pc:spChg>
        <pc:spChg chg="add del mod">
          <ac:chgData name="Cyrille Scuri" userId="0ff3ad52-7312-41f1-b45c-1187e0d5d8d9" providerId="ADAL" clId="{B3699060-207F-412C-A743-345124403A71}" dt="2022-10-07T13:45:51.702" v="1863" actId="1038"/>
          <ac:spMkLst>
            <pc:docMk/>
            <pc:sldMk cId="158698144" sldId="2076138255"/>
            <ac:spMk id="6" creationId="{C59D2B2D-D836-4DCD-8216-723D788F4BA1}"/>
          </ac:spMkLst>
        </pc:spChg>
        <pc:spChg chg="del mod">
          <ac:chgData name="Cyrille Scuri" userId="0ff3ad52-7312-41f1-b45c-1187e0d5d8d9" providerId="ADAL" clId="{B3699060-207F-412C-A743-345124403A71}" dt="2022-10-05T11:01:22.140" v="166" actId="478"/>
          <ac:spMkLst>
            <pc:docMk/>
            <pc:sldMk cId="158698144" sldId="2076138255"/>
            <ac:spMk id="8" creationId="{D50DB96D-FB6C-4402-9CBB-39EFDC614E86}"/>
          </ac:spMkLst>
        </pc:spChg>
        <pc:spChg chg="del mod">
          <ac:chgData name="Cyrille Scuri" userId="0ff3ad52-7312-41f1-b45c-1187e0d5d8d9" providerId="ADAL" clId="{B3699060-207F-412C-A743-345124403A71}" dt="2022-10-07T13:25:05.829" v="1260" actId="478"/>
          <ac:spMkLst>
            <pc:docMk/>
            <pc:sldMk cId="158698144" sldId="2076138255"/>
            <ac:spMk id="9" creationId="{DC19C0F0-2AAD-4B72-9BA6-88ED6DC824C9}"/>
          </ac:spMkLst>
        </pc:spChg>
        <pc:spChg chg="add mod">
          <ac:chgData name="Cyrille Scuri" userId="0ff3ad52-7312-41f1-b45c-1187e0d5d8d9" providerId="ADAL" clId="{B3699060-207F-412C-A743-345124403A71}" dt="2022-10-07T13:51:22.044" v="1867" actId="113"/>
          <ac:spMkLst>
            <pc:docMk/>
            <pc:sldMk cId="158698144" sldId="2076138255"/>
            <ac:spMk id="11" creationId="{3EDC0634-4410-239C-E45E-69A2540C5393}"/>
          </ac:spMkLst>
        </pc:spChg>
        <pc:spChg chg="add mod">
          <ac:chgData name="Cyrille Scuri" userId="0ff3ad52-7312-41f1-b45c-1187e0d5d8d9" providerId="ADAL" clId="{B3699060-207F-412C-A743-345124403A71}" dt="2022-10-07T13:51:24.923" v="1868" actId="113"/>
          <ac:spMkLst>
            <pc:docMk/>
            <pc:sldMk cId="158698144" sldId="2076138255"/>
            <ac:spMk id="12" creationId="{26395E75-93CC-EF5B-D5D9-DD8318945D1A}"/>
          </ac:spMkLst>
        </pc:spChg>
        <pc:picChg chg="mod">
          <ac:chgData name="Cyrille Scuri" userId="0ff3ad52-7312-41f1-b45c-1187e0d5d8d9" providerId="ADAL" clId="{B3699060-207F-412C-A743-345124403A71}" dt="2022-10-07T13:25:11.767" v="1284" actId="1035"/>
          <ac:picMkLst>
            <pc:docMk/>
            <pc:sldMk cId="158698144" sldId="2076138255"/>
            <ac:picMk id="5" creationId="{2E7E8032-4EA0-4542-96D3-7BA53DB3120A}"/>
          </ac:picMkLst>
        </pc:picChg>
        <pc:picChg chg="add mod">
          <ac:chgData name="Cyrille Scuri" userId="0ff3ad52-7312-41f1-b45c-1187e0d5d8d9" providerId="ADAL" clId="{B3699060-207F-412C-A743-345124403A71}" dt="2022-10-07T13:36:48.176" v="1578" actId="1038"/>
          <ac:picMkLst>
            <pc:docMk/>
            <pc:sldMk cId="158698144" sldId="2076138255"/>
            <ac:picMk id="8" creationId="{77B915E7-00C1-3DAB-37A8-F42F3F45A00C}"/>
          </ac:picMkLst>
        </pc:picChg>
        <pc:picChg chg="add mod">
          <ac:chgData name="Cyrille Scuri" userId="0ff3ad52-7312-41f1-b45c-1187e0d5d8d9" providerId="ADAL" clId="{B3699060-207F-412C-A743-345124403A71}" dt="2022-10-07T13:34:30.921" v="1517" actId="1038"/>
          <ac:picMkLst>
            <pc:docMk/>
            <pc:sldMk cId="158698144" sldId="2076138255"/>
            <ac:picMk id="10" creationId="{59F64C48-7246-C02F-45F5-FCB303BE7185}"/>
          </ac:picMkLst>
        </pc:picChg>
        <pc:picChg chg="mod">
          <ac:chgData name="Cyrille Scuri" userId="0ff3ad52-7312-41f1-b45c-1187e0d5d8d9" providerId="ADAL" clId="{B3699060-207F-412C-A743-345124403A71}" dt="2022-10-07T13:33:06.710" v="1500" actId="732"/>
          <ac:picMkLst>
            <pc:docMk/>
            <pc:sldMk cId="158698144" sldId="2076138255"/>
            <ac:picMk id="1026" creationId="{F55EBC79-755A-9142-974C-9609834FF432}"/>
          </ac:picMkLst>
        </pc:picChg>
        <pc:cxnChg chg="add del mod">
          <ac:chgData name="Cyrille Scuri" userId="0ff3ad52-7312-41f1-b45c-1187e0d5d8d9" providerId="ADAL" clId="{B3699060-207F-412C-A743-345124403A71}" dt="2022-10-07T13:25:22.981" v="1287" actId="478"/>
          <ac:cxnSpMkLst>
            <pc:docMk/>
            <pc:sldMk cId="158698144" sldId="2076138255"/>
            <ac:cxnSpMk id="7" creationId="{480262C8-EE43-44C5-8CF1-7055F6DF8990}"/>
          </ac:cxnSpMkLst>
        </pc:cxnChg>
      </pc:sldChg>
      <pc:sldChg chg="modSp mod">
        <pc:chgData name="Cyrille Scuri" userId="0ff3ad52-7312-41f1-b45c-1187e0d5d8d9" providerId="ADAL" clId="{B3699060-207F-412C-A743-345124403A71}" dt="2022-10-10T08:05:31.539" v="2028" actId="20577"/>
        <pc:sldMkLst>
          <pc:docMk/>
          <pc:sldMk cId="2077853568" sldId="2147469267"/>
        </pc:sldMkLst>
        <pc:spChg chg="mod">
          <ac:chgData name="Cyrille Scuri" userId="0ff3ad52-7312-41f1-b45c-1187e0d5d8d9" providerId="ADAL" clId="{B3699060-207F-412C-A743-345124403A71}" dt="2022-10-07T13:40:32.953" v="1800" actId="207"/>
          <ac:spMkLst>
            <pc:docMk/>
            <pc:sldMk cId="2077853568" sldId="2147469267"/>
            <ac:spMk id="8" creationId="{6EF9D717-1998-7D45-9EBE-55CF8691A10F}"/>
          </ac:spMkLst>
        </pc:spChg>
        <pc:spChg chg="mod">
          <ac:chgData name="Cyrille Scuri" userId="0ff3ad52-7312-41f1-b45c-1187e0d5d8d9" providerId="ADAL" clId="{B3699060-207F-412C-A743-345124403A71}" dt="2022-10-10T08:05:31.539" v="2028" actId="20577"/>
          <ac:spMkLst>
            <pc:docMk/>
            <pc:sldMk cId="2077853568" sldId="2147469267"/>
            <ac:spMk id="40" creationId="{3B2DD528-DE89-3ADD-9A28-70946CEBA60A}"/>
          </ac:spMkLst>
        </pc:spChg>
        <pc:spChg chg="mod">
          <ac:chgData name="Cyrille Scuri" userId="0ff3ad52-7312-41f1-b45c-1187e0d5d8d9" providerId="ADAL" clId="{B3699060-207F-412C-A743-345124403A71}" dt="2022-10-10T08:04:21.999" v="2007" actId="14100"/>
          <ac:spMkLst>
            <pc:docMk/>
            <pc:sldMk cId="2077853568" sldId="2147469267"/>
            <ac:spMk id="41" creationId="{23D87939-3DF3-AD18-073C-E6A69BFDA9CE}"/>
          </ac:spMkLst>
        </pc:spChg>
        <pc:spChg chg="mod">
          <ac:chgData name="Cyrille Scuri" userId="0ff3ad52-7312-41f1-b45c-1187e0d5d8d9" providerId="ADAL" clId="{B3699060-207F-412C-A743-345124403A71}" dt="2022-10-10T08:00:17.839" v="2005" actId="179"/>
          <ac:spMkLst>
            <pc:docMk/>
            <pc:sldMk cId="2077853568" sldId="2147469267"/>
            <ac:spMk id="42" creationId="{0ED540F4-4A32-F970-ACC0-D5B4A0D36760}"/>
          </ac:spMkLst>
        </pc:spChg>
      </pc:sldChg>
      <pc:sldChg chg="modSp mod">
        <pc:chgData name="Cyrille Scuri" userId="0ff3ad52-7312-41f1-b45c-1187e0d5d8d9" providerId="ADAL" clId="{B3699060-207F-412C-A743-345124403A71}" dt="2022-10-10T08:08:11.507" v="2048" actId="20577"/>
        <pc:sldMkLst>
          <pc:docMk/>
          <pc:sldMk cId="855317441" sldId="2147469268"/>
        </pc:sldMkLst>
        <pc:spChg chg="mod">
          <ac:chgData name="Cyrille Scuri" userId="0ff3ad52-7312-41f1-b45c-1187e0d5d8d9" providerId="ADAL" clId="{B3699060-207F-412C-A743-345124403A71}" dt="2022-10-07T13:41:03.128" v="1805" actId="207"/>
          <ac:spMkLst>
            <pc:docMk/>
            <pc:sldMk cId="855317441" sldId="2147469268"/>
            <ac:spMk id="8" creationId="{6EF9D717-1998-7D45-9EBE-55CF8691A10F}"/>
          </ac:spMkLst>
        </pc:spChg>
        <pc:spChg chg="mod">
          <ac:chgData name="Cyrille Scuri" userId="0ff3ad52-7312-41f1-b45c-1187e0d5d8d9" providerId="ADAL" clId="{B3699060-207F-412C-A743-345124403A71}" dt="2022-10-10T08:08:11.507" v="2048" actId="20577"/>
          <ac:spMkLst>
            <pc:docMk/>
            <pc:sldMk cId="855317441" sldId="2147469268"/>
            <ac:spMk id="41" creationId="{4F318C15-526A-E1CF-A2A3-DF266BB9A3BC}"/>
          </ac:spMkLst>
        </pc:spChg>
      </pc:sldChg>
      <pc:sldChg chg="modSp del mod">
        <pc:chgData name="Cyrille Scuri" userId="0ff3ad52-7312-41f1-b45c-1187e0d5d8d9" providerId="ADAL" clId="{B3699060-207F-412C-A743-345124403A71}" dt="2022-10-07T13:08:51.334" v="944" actId="47"/>
        <pc:sldMkLst>
          <pc:docMk/>
          <pc:sldMk cId="2467390400" sldId="2147469272"/>
        </pc:sldMkLst>
        <pc:spChg chg="mod">
          <ac:chgData name="Cyrille Scuri" userId="0ff3ad52-7312-41f1-b45c-1187e0d5d8d9" providerId="ADAL" clId="{B3699060-207F-412C-A743-345124403A71}" dt="2022-10-05T13:03:21.928" v="603" actId="20577"/>
          <ac:spMkLst>
            <pc:docMk/>
            <pc:sldMk cId="2467390400" sldId="2147469272"/>
            <ac:spMk id="16" creationId="{A3228153-5687-266D-6C7D-3D3B6CAB31D2}"/>
          </ac:spMkLst>
        </pc:spChg>
      </pc:sldChg>
      <pc:sldChg chg="modSp mod">
        <pc:chgData name="Cyrille Scuri" userId="0ff3ad52-7312-41f1-b45c-1187e0d5d8d9" providerId="ADAL" clId="{B3699060-207F-412C-A743-345124403A71}" dt="2022-10-10T08:19:47.040" v="2097" actId="1035"/>
        <pc:sldMkLst>
          <pc:docMk/>
          <pc:sldMk cId="1360018684" sldId="2147469273"/>
        </pc:sldMkLst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2" creationId="{1903AC34-5C83-518F-4507-E5FFF2B70FE5}"/>
          </ac:spMkLst>
        </pc:spChg>
        <pc:spChg chg="mod">
          <ac:chgData name="Cyrille Scuri" userId="0ff3ad52-7312-41f1-b45c-1187e0d5d8d9" providerId="ADAL" clId="{B3699060-207F-412C-A743-345124403A71}" dt="2022-10-10T08:19:09.832" v="2074" actId="403"/>
          <ac:spMkLst>
            <pc:docMk/>
            <pc:sldMk cId="1360018684" sldId="2147469273"/>
            <ac:spMk id="4" creationId="{9A9AA6F7-588F-1E48-AE28-39E9D1E0FE0E}"/>
          </ac:spMkLst>
        </pc:spChg>
        <pc:spChg chg="mod">
          <ac:chgData name="Cyrille Scuri" userId="0ff3ad52-7312-41f1-b45c-1187e0d5d8d9" providerId="ADAL" clId="{B3699060-207F-412C-A743-345124403A71}" dt="2022-10-10T08:18:56.596" v="2071" actId="403"/>
          <ac:spMkLst>
            <pc:docMk/>
            <pc:sldMk cId="1360018684" sldId="2147469273"/>
            <ac:spMk id="5" creationId="{F0EAB44C-8BA6-0051-ED19-7604319D4EB9}"/>
          </ac:spMkLst>
        </pc:spChg>
        <pc:spChg chg="mod">
          <ac:chgData name="Cyrille Scuri" userId="0ff3ad52-7312-41f1-b45c-1187e0d5d8d9" providerId="ADAL" clId="{B3699060-207F-412C-A743-345124403A71}" dt="2022-10-10T08:19:03.813" v="2072" actId="403"/>
          <ac:spMkLst>
            <pc:docMk/>
            <pc:sldMk cId="1360018684" sldId="2147469273"/>
            <ac:spMk id="6" creationId="{560E170E-7655-6C47-4CD0-06F4A92ED175}"/>
          </ac:spMkLst>
        </pc:spChg>
        <pc:spChg chg="mod">
          <ac:chgData name="Cyrille Scuri" userId="0ff3ad52-7312-41f1-b45c-1187e0d5d8d9" providerId="ADAL" clId="{B3699060-207F-412C-A743-345124403A71}" dt="2022-10-10T08:19:06.859" v="2073" actId="403"/>
          <ac:spMkLst>
            <pc:docMk/>
            <pc:sldMk cId="1360018684" sldId="2147469273"/>
            <ac:spMk id="7" creationId="{58433754-FFDD-94FC-CB9A-236AD3996B35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48" creationId="{FF8DEF63-8E15-1F43-BF82-62C7EE134766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53" creationId="{399EC2C9-D3E8-13D5-BA9F-0D3A9C7DAAF0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0" creationId="{6E45A11F-3491-6965-0C62-7CEEF387D2A1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1" creationId="{03FFF786-7439-7B77-576D-615775E3B086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4" creationId="{85D8B6CA-D55A-0591-3546-06A54AF2D5A9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5" creationId="{84ED2858-A177-D016-E1A0-3CDC01E67269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6" creationId="{D24E4776-D622-5820-9084-61B36A25023A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7" creationId="{AAB93BBD-D28D-EDA8-018F-267488250577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69" creationId="{BEAAC268-5C6D-0EC1-6E18-173413B0410D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70" creationId="{D9A90A99-9702-74E8-5D02-C45C8DBE9F4F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72" creationId="{1ACF3FDA-15C5-0A66-8A7E-05A45F9BF7BF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73" creationId="{76625638-1642-35A3-710D-65F0D409AA3C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74" creationId="{BC1B65AB-38ED-C872-ED03-A9B1EE9D52E8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77" creationId="{D7046298-6F8C-3333-191E-682EB2CC3EF2}"/>
          </ac:spMkLst>
        </pc:spChg>
        <pc:spChg chg="mod">
          <ac:chgData name="Cyrille Scuri" userId="0ff3ad52-7312-41f1-b45c-1187e0d5d8d9" providerId="ADAL" clId="{B3699060-207F-412C-A743-345124403A71}" dt="2022-10-10T08:18:38.159" v="2069" actId="403"/>
          <ac:spMkLst>
            <pc:docMk/>
            <pc:sldMk cId="1360018684" sldId="2147469273"/>
            <ac:spMk id="78" creationId="{17C03D87-311F-1ED8-E55C-84B2901340B9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80" creationId="{C3D2A026-E57A-99B1-3A71-AF24BC5A20DF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82" creationId="{41D12DF9-4258-FA91-F2FF-0466690570ED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83" creationId="{41101153-1FCE-2E0C-5B15-4380C99CEA27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84" creationId="{51CC5CB5-A551-C8D5-1CF0-51573D13CDDC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85" creationId="{C8324797-E410-66E7-037C-EC6D031629F3}"/>
          </ac:spMkLst>
        </pc:spChg>
        <pc:spChg chg="mod">
          <ac:chgData name="Cyrille Scuri" userId="0ff3ad52-7312-41f1-b45c-1187e0d5d8d9" providerId="ADAL" clId="{B3699060-207F-412C-A743-345124403A71}" dt="2022-10-10T08:19:13.049" v="2075" actId="403"/>
          <ac:spMkLst>
            <pc:docMk/>
            <pc:sldMk cId="1360018684" sldId="2147469273"/>
            <ac:spMk id="90" creationId="{166DE7D2-6C7E-66BA-D2C0-BEB0971B463A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92" creationId="{20F12EB5-0F46-A9D7-167A-FCC95BFEF1C0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93" creationId="{79972A6B-08B2-363F-4A58-732159EA628A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95" creationId="{C9D22399-1B72-34D9-8441-EA5B587D9403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96" creationId="{B9C931CC-B62F-7FAF-9D88-7725E3E5B09C}"/>
          </ac:spMkLst>
        </pc:spChg>
        <pc:spChg chg="mod">
          <ac:chgData name="Cyrille Scuri" userId="0ff3ad52-7312-41f1-b45c-1187e0d5d8d9" providerId="ADAL" clId="{B3699060-207F-412C-A743-345124403A71}" dt="2022-10-10T08:17:11.646" v="2050" actId="790"/>
          <ac:spMkLst>
            <pc:docMk/>
            <pc:sldMk cId="1360018684" sldId="2147469273"/>
            <ac:spMk id="108" creationId="{08A14FFD-3572-F6C1-5BE4-796BBE865E13}"/>
          </ac:spMkLst>
        </pc:sp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97" creationId="{7251BC75-DD5E-ED76-C204-313D8E0E0096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98" creationId="{0881B5B1-13ED-0485-F654-E642148C7180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99" creationId="{E25F75E9-3057-EC54-AB51-D4D504FC4424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0" creationId="{F6FD5FEC-A1E9-141A-F8CE-7F058743BD9D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1" creationId="{6987C63A-33F9-A6A3-085E-1F6890EBBBE3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2" creationId="{663C781C-E8D8-1BC3-626F-284F78C82441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3" creationId="{BD2B06F2-EDBE-D984-2FD0-F73D3E3BF218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4" creationId="{919C9849-AAF2-492E-D977-410BA4CFC217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5" creationId="{A02BD092-C98D-C411-D824-0329512C0E3A}"/>
          </ac:picMkLst>
        </pc:picChg>
        <pc:picChg chg="mod">
          <ac:chgData name="Cyrille Scuri" userId="0ff3ad52-7312-41f1-b45c-1187e0d5d8d9" providerId="ADAL" clId="{B3699060-207F-412C-A743-345124403A71}" dt="2022-10-10T08:19:47.040" v="2097" actId="1035"/>
          <ac:picMkLst>
            <pc:docMk/>
            <pc:sldMk cId="1360018684" sldId="2147469273"/>
            <ac:picMk id="106" creationId="{915F3872-FA27-10E5-4CEE-90DCFC02236E}"/>
          </ac:picMkLst>
        </pc:picChg>
      </pc:sldChg>
      <pc:sldChg chg="del">
        <pc:chgData name="Cyrille Scuri" userId="0ff3ad52-7312-41f1-b45c-1187e0d5d8d9" providerId="ADAL" clId="{B3699060-207F-412C-A743-345124403A71}" dt="2022-10-05T11:41:49.243" v="573" actId="47"/>
        <pc:sldMkLst>
          <pc:docMk/>
          <pc:sldMk cId="800884334" sldId="2147469278"/>
        </pc:sldMkLst>
      </pc:sldChg>
      <pc:sldChg chg="del">
        <pc:chgData name="Cyrille Scuri" userId="0ff3ad52-7312-41f1-b45c-1187e0d5d8d9" providerId="ADAL" clId="{B3699060-207F-412C-A743-345124403A71}" dt="2022-10-05T11:41:49.989" v="574" actId="47"/>
        <pc:sldMkLst>
          <pc:docMk/>
          <pc:sldMk cId="1097224860" sldId="2147469279"/>
        </pc:sldMkLst>
      </pc:sldChg>
      <pc:sldChg chg="del">
        <pc:chgData name="Cyrille Scuri" userId="0ff3ad52-7312-41f1-b45c-1187e0d5d8d9" providerId="ADAL" clId="{B3699060-207F-412C-A743-345124403A71}" dt="2022-10-05T11:42:02.735" v="586" actId="47"/>
        <pc:sldMkLst>
          <pc:docMk/>
          <pc:sldMk cId="857580911" sldId="2147469284"/>
        </pc:sldMkLst>
      </pc:sldChg>
      <pc:sldChg chg="del">
        <pc:chgData name="Cyrille Scuri" userId="0ff3ad52-7312-41f1-b45c-1187e0d5d8d9" providerId="ADAL" clId="{B3699060-207F-412C-A743-345124403A71}" dt="2022-10-05T11:42:03.733" v="588" actId="47"/>
        <pc:sldMkLst>
          <pc:docMk/>
          <pc:sldMk cId="770025496" sldId="2147469290"/>
        </pc:sldMkLst>
      </pc:sldChg>
      <pc:sldChg chg="del">
        <pc:chgData name="Cyrille Scuri" userId="0ff3ad52-7312-41f1-b45c-1187e0d5d8d9" providerId="ADAL" clId="{B3699060-207F-412C-A743-345124403A71}" dt="2022-10-05T11:42:00.135" v="582" actId="47"/>
        <pc:sldMkLst>
          <pc:docMk/>
          <pc:sldMk cId="1209245120" sldId="2147469319"/>
        </pc:sldMkLst>
      </pc:sldChg>
      <pc:sldChg chg="del">
        <pc:chgData name="Cyrille Scuri" userId="0ff3ad52-7312-41f1-b45c-1187e0d5d8d9" providerId="ADAL" clId="{B3699060-207F-412C-A743-345124403A71}" dt="2022-10-05T11:42:00.544" v="583" actId="47"/>
        <pc:sldMkLst>
          <pc:docMk/>
          <pc:sldMk cId="3603234062" sldId="2147469323"/>
        </pc:sldMkLst>
      </pc:sldChg>
      <pc:sldChg chg="del">
        <pc:chgData name="Cyrille Scuri" userId="0ff3ad52-7312-41f1-b45c-1187e0d5d8d9" providerId="ADAL" clId="{B3699060-207F-412C-A743-345124403A71}" dt="2022-10-05T11:42:01.167" v="584" actId="47"/>
        <pc:sldMkLst>
          <pc:docMk/>
          <pc:sldMk cId="3391201320" sldId="2147469326"/>
        </pc:sldMkLst>
      </pc:sldChg>
      <pc:sldChg chg="del">
        <pc:chgData name="Cyrille Scuri" userId="0ff3ad52-7312-41f1-b45c-1187e0d5d8d9" providerId="ADAL" clId="{B3699060-207F-412C-A743-345124403A71}" dt="2022-10-05T11:42:01.889" v="585" actId="47"/>
        <pc:sldMkLst>
          <pc:docMk/>
          <pc:sldMk cId="3255951905" sldId="2147469330"/>
        </pc:sldMkLst>
      </pc:sldChg>
      <pc:sldChg chg="del">
        <pc:chgData name="Cyrille Scuri" userId="0ff3ad52-7312-41f1-b45c-1187e0d5d8d9" providerId="ADAL" clId="{B3699060-207F-412C-A743-345124403A71}" dt="2022-10-05T11:42:03.312" v="587" actId="47"/>
        <pc:sldMkLst>
          <pc:docMk/>
          <pc:sldMk cId="2266331144" sldId="2147469336"/>
        </pc:sldMkLst>
      </pc:sldChg>
      <pc:sldChg chg="modSp mod">
        <pc:chgData name="Cyrille Scuri" userId="0ff3ad52-7312-41f1-b45c-1187e0d5d8d9" providerId="ADAL" clId="{B3699060-207F-412C-A743-345124403A71}" dt="2022-10-07T13:41:25.475" v="1811" actId="207"/>
        <pc:sldMkLst>
          <pc:docMk/>
          <pc:sldMk cId="1734838540" sldId="2147469342"/>
        </pc:sldMkLst>
        <pc:spChg chg="mod">
          <ac:chgData name="Cyrille Scuri" userId="0ff3ad52-7312-41f1-b45c-1187e0d5d8d9" providerId="ADAL" clId="{B3699060-207F-412C-A743-345124403A71}" dt="2022-10-07T13:41:25.475" v="1811" actId="207"/>
          <ac:spMkLst>
            <pc:docMk/>
            <pc:sldMk cId="1734838540" sldId="2147469342"/>
            <ac:spMk id="48" creationId="{FF8DEF63-8E15-1F43-BF82-62C7EE134766}"/>
          </ac:spMkLst>
        </pc:spChg>
      </pc:sldChg>
      <pc:sldChg chg="del">
        <pc:chgData name="Cyrille Scuri" userId="0ff3ad52-7312-41f1-b45c-1187e0d5d8d9" providerId="ADAL" clId="{B3699060-207F-412C-A743-345124403A71}" dt="2022-10-05T11:42:10.182" v="596" actId="47"/>
        <pc:sldMkLst>
          <pc:docMk/>
          <pc:sldMk cId="1476193251" sldId="2147469361"/>
        </pc:sldMkLst>
      </pc:sldChg>
      <pc:sldChg chg="del">
        <pc:chgData name="Cyrille Scuri" userId="0ff3ad52-7312-41f1-b45c-1187e0d5d8d9" providerId="ADAL" clId="{B3699060-207F-412C-A743-345124403A71}" dt="2022-10-05T11:42:05.356" v="589" actId="47"/>
        <pc:sldMkLst>
          <pc:docMk/>
          <pc:sldMk cId="1155006733" sldId="2147469375"/>
        </pc:sldMkLst>
      </pc:sldChg>
      <pc:sldChg chg="del">
        <pc:chgData name="Cyrille Scuri" userId="0ff3ad52-7312-41f1-b45c-1187e0d5d8d9" providerId="ADAL" clId="{B3699060-207F-412C-A743-345124403A71}" dt="2022-10-05T11:42:05.845" v="590" actId="47"/>
        <pc:sldMkLst>
          <pc:docMk/>
          <pc:sldMk cId="2599195605" sldId="2147469376"/>
        </pc:sldMkLst>
      </pc:sldChg>
      <pc:sldChg chg="del">
        <pc:chgData name="Cyrille Scuri" userId="0ff3ad52-7312-41f1-b45c-1187e0d5d8d9" providerId="ADAL" clId="{B3699060-207F-412C-A743-345124403A71}" dt="2022-10-05T11:42:07.058" v="591" actId="47"/>
        <pc:sldMkLst>
          <pc:docMk/>
          <pc:sldMk cId="125860915" sldId="2147469377"/>
        </pc:sldMkLst>
      </pc:sldChg>
      <pc:sldChg chg="del">
        <pc:chgData name="Cyrille Scuri" userId="0ff3ad52-7312-41f1-b45c-1187e0d5d8d9" providerId="ADAL" clId="{B3699060-207F-412C-A743-345124403A71}" dt="2022-10-05T11:42:07.812" v="592" actId="47"/>
        <pc:sldMkLst>
          <pc:docMk/>
          <pc:sldMk cId="3309534112" sldId="2147469382"/>
        </pc:sldMkLst>
      </pc:sldChg>
      <pc:sldChg chg="del">
        <pc:chgData name="Cyrille Scuri" userId="0ff3ad52-7312-41f1-b45c-1187e0d5d8d9" providerId="ADAL" clId="{B3699060-207F-412C-A743-345124403A71}" dt="2022-10-05T11:42:08.258" v="593" actId="47"/>
        <pc:sldMkLst>
          <pc:docMk/>
          <pc:sldMk cId="732975628" sldId="2147469384"/>
        </pc:sldMkLst>
      </pc:sldChg>
      <pc:sldChg chg="del">
        <pc:chgData name="Cyrille Scuri" userId="0ff3ad52-7312-41f1-b45c-1187e0d5d8d9" providerId="ADAL" clId="{B3699060-207F-412C-A743-345124403A71}" dt="2022-10-05T11:42:08.933" v="594" actId="47"/>
        <pc:sldMkLst>
          <pc:docMk/>
          <pc:sldMk cId="802833557" sldId="2147469385"/>
        </pc:sldMkLst>
      </pc:sldChg>
      <pc:sldChg chg="del">
        <pc:chgData name="Cyrille Scuri" userId="0ff3ad52-7312-41f1-b45c-1187e0d5d8d9" providerId="ADAL" clId="{B3699060-207F-412C-A743-345124403A71}" dt="2022-10-05T11:42:09.579" v="595" actId="47"/>
        <pc:sldMkLst>
          <pc:docMk/>
          <pc:sldMk cId="1733454301" sldId="2147469386"/>
        </pc:sldMkLst>
      </pc:sldChg>
      <pc:sldChg chg="modSp mod">
        <pc:chgData name="Cyrille Scuri" userId="0ff3ad52-7312-41f1-b45c-1187e0d5d8d9" providerId="ADAL" clId="{B3699060-207F-412C-A743-345124403A71}" dt="2022-10-07T13:41:35.319" v="1814" actId="207"/>
        <pc:sldMkLst>
          <pc:docMk/>
          <pc:sldMk cId="814208224" sldId="2147469391"/>
        </pc:sldMkLst>
        <pc:spChg chg="mod">
          <ac:chgData name="Cyrille Scuri" userId="0ff3ad52-7312-41f1-b45c-1187e0d5d8d9" providerId="ADAL" clId="{B3699060-207F-412C-A743-345124403A71}" dt="2022-10-07T13:41:35.319" v="1814" actId="207"/>
          <ac:spMkLst>
            <pc:docMk/>
            <pc:sldMk cId="814208224" sldId="2147469391"/>
            <ac:spMk id="48" creationId="{FF8DEF63-8E15-1F43-BF82-62C7EE134766}"/>
          </ac:spMkLst>
        </pc:spChg>
      </pc:sldChg>
      <pc:sldChg chg="modSp del mod">
        <pc:chgData name="Cyrille Scuri" userId="0ff3ad52-7312-41f1-b45c-1187e0d5d8d9" providerId="ADAL" clId="{B3699060-207F-412C-A743-345124403A71}" dt="2022-10-10T07:49:00.030" v="1900" actId="47"/>
        <pc:sldMkLst>
          <pc:docMk/>
          <pc:sldMk cId="673188069" sldId="2147469393"/>
        </pc:sldMkLst>
        <pc:spChg chg="mod">
          <ac:chgData name="Cyrille Scuri" userId="0ff3ad52-7312-41f1-b45c-1187e0d5d8d9" providerId="ADAL" clId="{B3699060-207F-412C-A743-345124403A71}" dt="2022-10-10T07:46:53.439" v="1873" actId="20577"/>
          <ac:spMkLst>
            <pc:docMk/>
            <pc:sldMk cId="673188069" sldId="2147469393"/>
            <ac:spMk id="7" creationId="{16F7A73D-CAD3-1336-44DA-FB2C2BAEFAFA}"/>
          </ac:spMkLst>
        </pc:spChg>
        <pc:spChg chg="mod">
          <ac:chgData name="Cyrille Scuri" userId="0ff3ad52-7312-41f1-b45c-1187e0d5d8d9" providerId="ADAL" clId="{B3699060-207F-412C-A743-345124403A71}" dt="2022-10-07T13:41:43.385" v="1815" actId="207"/>
          <ac:spMkLst>
            <pc:docMk/>
            <pc:sldMk cId="673188069" sldId="2147469393"/>
            <ac:spMk id="8" creationId="{6EF9D717-1998-7D45-9EBE-55CF8691A10F}"/>
          </ac:spMkLst>
        </pc:spChg>
      </pc:sldChg>
      <pc:sldChg chg="modSp mod">
        <pc:chgData name="Cyrille Scuri" userId="0ff3ad52-7312-41f1-b45c-1187e0d5d8d9" providerId="ADAL" clId="{B3699060-207F-412C-A743-345124403A71}" dt="2022-10-10T08:50:15.211" v="2403" actId="20577"/>
        <pc:sldMkLst>
          <pc:docMk/>
          <pc:sldMk cId="3917842462" sldId="2147469394"/>
        </pc:sldMkLst>
        <pc:spChg chg="mod">
          <ac:chgData name="Cyrille Scuri" userId="0ff3ad52-7312-41f1-b45c-1187e0d5d8d9" providerId="ADAL" clId="{B3699060-207F-412C-A743-345124403A71}" dt="2022-10-10T08:50:15.211" v="2403" actId="20577"/>
          <ac:spMkLst>
            <pc:docMk/>
            <pc:sldMk cId="3917842462" sldId="2147469394"/>
            <ac:spMk id="3" creationId="{78EBAE30-E469-E059-0051-463D0D0D9985}"/>
          </ac:spMkLst>
        </pc:spChg>
        <pc:spChg chg="mod">
          <ac:chgData name="Cyrille Scuri" userId="0ff3ad52-7312-41f1-b45c-1187e0d5d8d9" providerId="ADAL" clId="{B3699060-207F-412C-A743-345124403A71}" dt="2022-10-10T08:39:02.524" v="2308" actId="20577"/>
          <ac:spMkLst>
            <pc:docMk/>
            <pc:sldMk cId="3917842462" sldId="2147469394"/>
            <ac:spMk id="90" creationId="{F50886D8-EC34-8FB4-C35F-F832CC5B4C9B}"/>
          </ac:spMkLst>
        </pc:spChg>
        <pc:spChg chg="mod">
          <ac:chgData name="Cyrille Scuri" userId="0ff3ad52-7312-41f1-b45c-1187e0d5d8d9" providerId="ADAL" clId="{B3699060-207F-412C-A743-345124403A71}" dt="2022-10-10T08:47:14.099" v="2344" actId="20577"/>
          <ac:spMkLst>
            <pc:docMk/>
            <pc:sldMk cId="3917842462" sldId="2147469394"/>
            <ac:spMk id="92" creationId="{647DB194-D391-F274-66D3-0ECCB094DDFD}"/>
          </ac:spMkLst>
        </pc:spChg>
        <pc:spChg chg="mod">
          <ac:chgData name="Cyrille Scuri" userId="0ff3ad52-7312-41f1-b45c-1187e0d5d8d9" providerId="ADAL" clId="{B3699060-207F-412C-A743-345124403A71}" dt="2022-10-07T13:41:17.477" v="1809" actId="207"/>
          <ac:spMkLst>
            <pc:docMk/>
            <pc:sldMk cId="3917842462" sldId="2147469394"/>
            <ac:spMk id="104" creationId="{A9410F86-465F-17E8-0A8E-D272C7AEBC61}"/>
          </ac:spMkLst>
        </pc:spChg>
      </pc:sldChg>
      <pc:sldChg chg="addSp delSp modSp del mod">
        <pc:chgData name="Cyrille Scuri" userId="0ff3ad52-7312-41f1-b45c-1187e0d5d8d9" providerId="ADAL" clId="{B3699060-207F-412C-A743-345124403A71}" dt="2022-10-05T11:01:35.880" v="167" actId="47"/>
        <pc:sldMkLst>
          <pc:docMk/>
          <pc:sldMk cId="2029814101" sldId="2147469396"/>
        </pc:sldMkLst>
        <pc:spChg chg="del">
          <ac:chgData name="Cyrille Scuri" userId="0ff3ad52-7312-41f1-b45c-1187e0d5d8d9" providerId="ADAL" clId="{B3699060-207F-412C-A743-345124403A71}" dt="2022-10-05T10:51:20.387" v="3" actId="478"/>
          <ac:spMkLst>
            <pc:docMk/>
            <pc:sldMk cId="2029814101" sldId="2147469396"/>
            <ac:spMk id="8" creationId="{764E28AA-93DD-BD5A-7254-E69FAC9DB75D}"/>
          </ac:spMkLst>
        </pc:spChg>
        <pc:picChg chg="add del mod">
          <ac:chgData name="Cyrille Scuri" userId="0ff3ad52-7312-41f1-b45c-1187e0d5d8d9" providerId="ADAL" clId="{B3699060-207F-412C-A743-345124403A71}" dt="2022-10-05T10:54:58.552" v="47" actId="478"/>
          <ac:picMkLst>
            <pc:docMk/>
            <pc:sldMk cId="2029814101" sldId="2147469396"/>
            <ac:picMk id="3" creationId="{48EFAB81-EC33-077F-7B4A-E603CD7FBB1F}"/>
          </ac:picMkLst>
        </pc:picChg>
        <pc:picChg chg="del">
          <ac:chgData name="Cyrille Scuri" userId="0ff3ad52-7312-41f1-b45c-1187e0d5d8d9" providerId="ADAL" clId="{B3699060-207F-412C-A743-345124403A71}" dt="2022-10-05T10:51:18.197" v="2" actId="478"/>
          <ac:picMkLst>
            <pc:docMk/>
            <pc:sldMk cId="2029814101" sldId="2147469396"/>
            <ac:picMk id="5" creationId="{D53352B5-90DC-4594-3033-95151DDF3528}"/>
          </ac:picMkLst>
        </pc:picChg>
        <pc:picChg chg="add mod">
          <ac:chgData name="Cyrille Scuri" userId="0ff3ad52-7312-41f1-b45c-1187e0d5d8d9" providerId="ADAL" clId="{B3699060-207F-412C-A743-345124403A71}" dt="2022-10-05T10:57:15.865" v="110" actId="14100"/>
          <ac:picMkLst>
            <pc:docMk/>
            <pc:sldMk cId="2029814101" sldId="2147469396"/>
            <ac:picMk id="6" creationId="{DA9D5265-2941-B515-1008-6461F9792F0A}"/>
          </ac:picMkLst>
        </pc:picChg>
        <pc:picChg chg="add mod">
          <ac:chgData name="Cyrille Scuri" userId="0ff3ad52-7312-41f1-b45c-1187e0d5d8d9" providerId="ADAL" clId="{B3699060-207F-412C-A743-345124403A71}" dt="2022-10-05T10:59:14.185" v="146" actId="14100"/>
          <ac:picMkLst>
            <pc:docMk/>
            <pc:sldMk cId="2029814101" sldId="2147469396"/>
            <ac:picMk id="7" creationId="{FBC95665-582E-5CAD-1159-B50BC99EE3A1}"/>
          </ac:picMkLst>
        </pc:picChg>
      </pc:sldChg>
      <pc:sldChg chg="delSp del mod">
        <pc:chgData name="Cyrille Scuri" userId="0ff3ad52-7312-41f1-b45c-1187e0d5d8d9" providerId="ADAL" clId="{B3699060-207F-412C-A743-345124403A71}" dt="2022-10-05T11:05:03.042" v="177" actId="47"/>
        <pc:sldMkLst>
          <pc:docMk/>
          <pc:sldMk cId="3074318552" sldId="2147469397"/>
        </pc:sldMkLst>
        <pc:spChg chg="del">
          <ac:chgData name="Cyrille Scuri" userId="0ff3ad52-7312-41f1-b45c-1187e0d5d8d9" providerId="ADAL" clId="{B3699060-207F-412C-A743-345124403A71}" dt="2022-10-05T10:51:04.233" v="1" actId="478"/>
          <ac:spMkLst>
            <pc:docMk/>
            <pc:sldMk cId="3074318552" sldId="2147469397"/>
            <ac:spMk id="4" creationId="{061C584D-04BE-6AC3-8039-C1E7F9323F42}"/>
          </ac:spMkLst>
        </pc:spChg>
        <pc:picChg chg="del">
          <ac:chgData name="Cyrille Scuri" userId="0ff3ad52-7312-41f1-b45c-1187e0d5d8d9" providerId="ADAL" clId="{B3699060-207F-412C-A743-345124403A71}" dt="2022-10-05T10:51:00.698" v="0" actId="478"/>
          <ac:picMkLst>
            <pc:docMk/>
            <pc:sldMk cId="3074318552" sldId="2147469397"/>
            <ac:picMk id="3" creationId="{219EEF8A-1D58-A42F-A527-9AAF4AE5284C}"/>
          </ac:picMkLst>
        </pc:picChg>
      </pc:sldChg>
      <pc:sldChg chg="modSp del mod">
        <pc:chgData name="Cyrille Scuri" userId="0ff3ad52-7312-41f1-b45c-1187e0d5d8d9" providerId="ADAL" clId="{B3699060-207F-412C-A743-345124403A71}" dt="2022-10-10T12:48:09.340" v="2405" actId="47"/>
        <pc:sldMkLst>
          <pc:docMk/>
          <pc:sldMk cId="508335638" sldId="2147469398"/>
        </pc:sldMkLst>
        <pc:spChg chg="mod">
          <ac:chgData name="Cyrille Scuri" userId="0ff3ad52-7312-41f1-b45c-1187e0d5d8d9" providerId="ADAL" clId="{B3699060-207F-412C-A743-345124403A71}" dt="2022-10-07T13:41:28.635" v="1812" actId="207"/>
          <ac:spMkLst>
            <pc:docMk/>
            <pc:sldMk cId="508335638" sldId="2147469398"/>
            <ac:spMk id="48" creationId="{FF8DEF63-8E15-1F43-BF82-62C7EE134766}"/>
          </ac:spMkLst>
        </pc:spChg>
      </pc:sldChg>
      <pc:sldChg chg="del">
        <pc:chgData name="Cyrille Scuri" userId="0ff3ad52-7312-41f1-b45c-1187e0d5d8d9" providerId="ADAL" clId="{B3699060-207F-412C-A743-345124403A71}" dt="2022-10-05T11:41:51.652" v="575" actId="47"/>
        <pc:sldMkLst>
          <pc:docMk/>
          <pc:sldMk cId="3634424024" sldId="2147469399"/>
        </pc:sldMkLst>
      </pc:sldChg>
      <pc:sldChg chg="del">
        <pc:chgData name="Cyrille Scuri" userId="0ff3ad52-7312-41f1-b45c-1187e0d5d8d9" providerId="ADAL" clId="{B3699060-207F-412C-A743-345124403A71}" dt="2022-10-05T11:41:53.774" v="576" actId="47"/>
        <pc:sldMkLst>
          <pc:docMk/>
          <pc:sldMk cId="1429535680" sldId="2147469400"/>
        </pc:sldMkLst>
      </pc:sldChg>
      <pc:sldChg chg="del">
        <pc:chgData name="Cyrille Scuri" userId="0ff3ad52-7312-41f1-b45c-1187e0d5d8d9" providerId="ADAL" clId="{B3699060-207F-412C-A743-345124403A71}" dt="2022-10-05T11:41:54.088" v="577" actId="47"/>
        <pc:sldMkLst>
          <pc:docMk/>
          <pc:sldMk cId="1746998203" sldId="2147469401"/>
        </pc:sldMkLst>
      </pc:sldChg>
      <pc:sldChg chg="del">
        <pc:chgData name="Cyrille Scuri" userId="0ff3ad52-7312-41f1-b45c-1187e0d5d8d9" providerId="ADAL" clId="{B3699060-207F-412C-A743-345124403A71}" dt="2022-10-05T11:41:54.381" v="578" actId="47"/>
        <pc:sldMkLst>
          <pc:docMk/>
          <pc:sldMk cId="666055212" sldId="2147469402"/>
        </pc:sldMkLst>
      </pc:sldChg>
      <pc:sldChg chg="del">
        <pc:chgData name="Cyrille Scuri" userId="0ff3ad52-7312-41f1-b45c-1187e0d5d8d9" providerId="ADAL" clId="{B3699060-207F-412C-A743-345124403A71}" dt="2022-10-05T11:41:54.646" v="579" actId="47"/>
        <pc:sldMkLst>
          <pc:docMk/>
          <pc:sldMk cId="3648462824" sldId="2147469403"/>
        </pc:sldMkLst>
      </pc:sldChg>
      <pc:sldChg chg="del">
        <pc:chgData name="Cyrille Scuri" userId="0ff3ad52-7312-41f1-b45c-1187e0d5d8d9" providerId="ADAL" clId="{B3699060-207F-412C-A743-345124403A71}" dt="2022-10-05T11:41:57.270" v="580" actId="47"/>
        <pc:sldMkLst>
          <pc:docMk/>
          <pc:sldMk cId="3701911455" sldId="2147469404"/>
        </pc:sldMkLst>
      </pc:sldChg>
      <pc:sldChg chg="del">
        <pc:chgData name="Cyrille Scuri" userId="0ff3ad52-7312-41f1-b45c-1187e0d5d8d9" providerId="ADAL" clId="{B3699060-207F-412C-A743-345124403A71}" dt="2022-10-05T11:41:57.934" v="581" actId="47"/>
        <pc:sldMkLst>
          <pc:docMk/>
          <pc:sldMk cId="1128358704" sldId="2147469405"/>
        </pc:sldMkLst>
      </pc:sldChg>
      <pc:sldChg chg="modSp del mod">
        <pc:chgData name="Cyrille Scuri" userId="0ff3ad52-7312-41f1-b45c-1187e0d5d8d9" providerId="ADAL" clId="{B3699060-207F-412C-A743-345124403A71}" dt="2022-10-10T12:48:09.726" v="2406" actId="47"/>
        <pc:sldMkLst>
          <pc:docMk/>
          <pc:sldMk cId="350160197" sldId="2147469406"/>
        </pc:sldMkLst>
        <pc:spChg chg="mod">
          <ac:chgData name="Cyrille Scuri" userId="0ff3ad52-7312-41f1-b45c-1187e0d5d8d9" providerId="ADAL" clId="{B3699060-207F-412C-A743-345124403A71}" dt="2022-10-07T13:41:31.881" v="1813" actId="207"/>
          <ac:spMkLst>
            <pc:docMk/>
            <pc:sldMk cId="350160197" sldId="2147469406"/>
            <ac:spMk id="48" creationId="{FF8DEF63-8E15-1F43-BF82-62C7EE134766}"/>
          </ac:spMkLst>
        </pc:spChg>
      </pc:sldChg>
      <pc:sldChg chg="modSp add del mod">
        <pc:chgData name="Cyrille Scuri" userId="0ff3ad52-7312-41f1-b45c-1187e0d5d8d9" providerId="ADAL" clId="{B3699060-207F-412C-A743-345124403A71}" dt="2022-10-05T10:59:56.722" v="147" actId="47"/>
        <pc:sldMkLst>
          <pc:docMk/>
          <pc:sldMk cId="1651440011" sldId="2147469407"/>
        </pc:sldMkLst>
        <pc:picChg chg="mod modCrop">
          <ac:chgData name="Cyrille Scuri" userId="0ff3ad52-7312-41f1-b45c-1187e0d5d8d9" providerId="ADAL" clId="{B3699060-207F-412C-A743-345124403A71}" dt="2022-10-05T10:58:06.982" v="119" actId="1076"/>
          <ac:picMkLst>
            <pc:docMk/>
            <pc:sldMk cId="1651440011" sldId="2147469407"/>
            <ac:picMk id="6" creationId="{DA9D5265-2941-B515-1008-6461F9792F0A}"/>
          </ac:picMkLst>
        </pc:picChg>
      </pc:sldChg>
      <pc:sldChg chg="del">
        <pc:chgData name="Cyrille Scuri" userId="0ff3ad52-7312-41f1-b45c-1187e0d5d8d9" providerId="ADAL" clId="{B3699060-207F-412C-A743-345124403A71}" dt="2022-10-05T11:03:21.467" v="168" actId="47"/>
        <pc:sldMkLst>
          <pc:docMk/>
          <pc:sldMk cId="2291107465" sldId="2147469407"/>
        </pc:sldMkLst>
      </pc:sldChg>
      <pc:sldChg chg="del">
        <pc:chgData name="Cyrille Scuri" userId="0ff3ad52-7312-41f1-b45c-1187e0d5d8d9" providerId="ADAL" clId="{B3699060-207F-412C-A743-345124403A71}" dt="2022-10-05T11:04:08.254" v="176" actId="47"/>
        <pc:sldMkLst>
          <pc:docMk/>
          <pc:sldMk cId="1781419891" sldId="2147469504"/>
        </pc:sldMkLst>
      </pc:sldChg>
      <pc:sldChg chg="addSp delSp modSp del mod delAnim">
        <pc:chgData name="Cyrille Scuri" userId="0ff3ad52-7312-41f1-b45c-1187e0d5d8d9" providerId="ADAL" clId="{B3699060-207F-412C-A743-345124403A71}" dt="2022-10-07T13:17:00.368" v="1011" actId="47"/>
        <pc:sldMkLst>
          <pc:docMk/>
          <pc:sldMk cId="1746227378" sldId="2147469505"/>
        </pc:sldMkLst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3" creationId="{92500EFC-03E7-E8D8-62F8-DD855007CA49}"/>
          </ac:spMkLst>
        </pc:spChg>
        <pc:spChg chg="add mod">
          <ac:chgData name="Cyrille Scuri" userId="0ff3ad52-7312-41f1-b45c-1187e0d5d8d9" providerId="ADAL" clId="{B3699060-207F-412C-A743-345124403A71}" dt="2022-10-05T11:40:18.908" v="572" actId="1038"/>
          <ac:spMkLst>
            <pc:docMk/>
            <pc:sldMk cId="1746227378" sldId="2147469505"/>
            <ac:spMk id="6" creationId="{055613D9-F4B6-4F05-DF72-1BEC7A9E1A67}"/>
          </ac:spMkLst>
        </pc:spChg>
        <pc:spChg chg="del">
          <ac:chgData name="Cyrille Scuri" userId="0ff3ad52-7312-41f1-b45c-1187e0d5d8d9" providerId="ADAL" clId="{B3699060-207F-412C-A743-345124403A71}" dt="2022-10-05T11:03:48.477" v="172" actId="478"/>
          <ac:spMkLst>
            <pc:docMk/>
            <pc:sldMk cId="1746227378" sldId="2147469505"/>
            <ac:spMk id="13" creationId="{099AE5D9-193E-F620-153A-4AF5D288CDAA}"/>
          </ac:spMkLst>
        </pc:spChg>
        <pc:spChg chg="add mod">
          <ac:chgData name="Cyrille Scuri" userId="0ff3ad52-7312-41f1-b45c-1187e0d5d8d9" providerId="ADAL" clId="{B3699060-207F-412C-A743-345124403A71}" dt="2022-10-05T11:40:07.481" v="520" actId="1038"/>
          <ac:spMkLst>
            <pc:docMk/>
            <pc:sldMk cId="1746227378" sldId="2147469505"/>
            <ac:spMk id="14" creationId="{67DE8762-AB56-314C-4C4B-C0CF1436452E}"/>
          </ac:spMkLst>
        </pc:spChg>
        <pc:spChg chg="del">
          <ac:chgData name="Cyrille Scuri" userId="0ff3ad52-7312-41f1-b45c-1187e0d5d8d9" providerId="ADAL" clId="{B3699060-207F-412C-A743-345124403A71}" dt="2022-10-05T11:03:49.261" v="173" actId="478"/>
          <ac:spMkLst>
            <pc:docMk/>
            <pc:sldMk cId="1746227378" sldId="2147469505"/>
            <ac:spMk id="18" creationId="{B42FBA2E-4AEE-DC6F-581D-AD55672D18C5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19" creationId="{4373FE4A-0D9F-262D-101F-E912585B8921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1" creationId="{C698F22C-0EE0-E0D7-AA90-05BCEFF31B6A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2" creationId="{0364D1B2-E703-407C-9965-08B42A8E8E5D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3" creationId="{A80486F2-A449-4473-12E1-32BB32500DF7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4" creationId="{15ED80B1-4138-43B3-BF52-F8405EAC5F3D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5" creationId="{26CF0794-8426-5D6E-A57B-8C429EC2D974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6" creationId="{31F1B025-F269-F169-E491-F0E8D6125B15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7" creationId="{81C348B1-FBA1-C3B7-269C-053AD6CD770B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8" creationId="{47A1438B-5C80-C259-2CAE-377D63EA55F7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29" creationId="{1B08C2B9-5946-E873-8591-54B3E76294B3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31" creationId="{E4CF6F43-17FA-2989-F0F2-9F9F08040108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32" creationId="{0FF6CF9A-398E-D250-ABD4-584178077283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33" creationId="{52563BE4-9003-06C4-8AB1-EBB68604E44C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34" creationId="{8567A002-CCEB-1EA4-914F-AD2F89EA355B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40" creationId="{3B2DD528-DE89-3ADD-9A28-70946CEBA60A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41" creationId="{23D87939-3DF3-AD18-073C-E6A69BFDA9CE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42" creationId="{0ED540F4-4A32-F970-ACC0-D5B4A0D36760}"/>
          </ac:spMkLst>
        </pc:spChg>
        <pc:spChg chg="del">
          <ac:chgData name="Cyrille Scuri" userId="0ff3ad52-7312-41f1-b45c-1187e0d5d8d9" providerId="ADAL" clId="{B3699060-207F-412C-A743-345124403A71}" dt="2022-10-05T11:03:46.227" v="171" actId="478"/>
          <ac:spMkLst>
            <pc:docMk/>
            <pc:sldMk cId="1746227378" sldId="2147469505"/>
            <ac:spMk id="51" creationId="{0E951746-9548-2583-592F-DCF4BEE9F9BC}"/>
          </ac:spMkLst>
        </pc:spChg>
        <pc:picChg chg="add mod">
          <ac:chgData name="Cyrille Scuri" userId="0ff3ad52-7312-41f1-b45c-1187e0d5d8d9" providerId="ADAL" clId="{B3699060-207F-412C-A743-345124403A71}" dt="2022-10-05T11:40:07.481" v="520" actId="1038"/>
          <ac:picMkLst>
            <pc:docMk/>
            <pc:sldMk cId="1746227378" sldId="2147469505"/>
            <ac:picMk id="2" creationId="{68775B95-6E37-F86E-D86E-6B8C119AED6B}"/>
          </ac:picMkLst>
        </pc:picChg>
        <pc:picChg chg="add mod">
          <ac:chgData name="Cyrille Scuri" userId="0ff3ad52-7312-41f1-b45c-1187e0d5d8d9" providerId="ADAL" clId="{B3699060-207F-412C-A743-345124403A71}" dt="2022-10-05T11:40:18.908" v="572" actId="1038"/>
          <ac:picMkLst>
            <pc:docMk/>
            <pc:sldMk cId="1746227378" sldId="2147469505"/>
            <ac:picMk id="4" creationId="{EC8CD13F-839F-C989-D106-7BFF1D29AF2F}"/>
          </ac:picMkLst>
        </pc:picChg>
        <pc:picChg chg="add mod">
          <ac:chgData name="Cyrille Scuri" userId="0ff3ad52-7312-41f1-b45c-1187e0d5d8d9" providerId="ADAL" clId="{B3699060-207F-412C-A743-345124403A71}" dt="2022-10-05T11:40:18.908" v="572" actId="1038"/>
          <ac:picMkLst>
            <pc:docMk/>
            <pc:sldMk cId="1746227378" sldId="2147469505"/>
            <ac:picMk id="5" creationId="{0907D9B7-1C35-2AB5-A222-5E813A499B76}"/>
          </ac:picMkLst>
        </pc:picChg>
        <pc:picChg chg="add mod">
          <ac:chgData name="Cyrille Scuri" userId="0ff3ad52-7312-41f1-b45c-1187e0d5d8d9" providerId="ADAL" clId="{B3699060-207F-412C-A743-345124403A71}" dt="2022-10-05T11:40:07.481" v="520" actId="1038"/>
          <ac:picMkLst>
            <pc:docMk/>
            <pc:sldMk cId="1746227378" sldId="2147469505"/>
            <ac:picMk id="7" creationId="{73403FB1-F1CA-F064-1F27-88CF51172709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36" creationId="{0CF98FD2-41D2-E89B-11F4-CC32E283CA9A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37" creationId="{652AA8EB-63B5-7DB4-00D7-EFFACF6A4044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38" creationId="{229D9D98-AE8A-91B3-DEAF-E6EFC55CC6DE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48" creationId="{F7C5D234-759B-F7EB-7C0E-86D70FC0AE22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49" creationId="{104E9A8F-025C-A3B7-D7E2-B9581F1CB0BE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50" creationId="{947426ED-910A-BEB5-3ABB-286FE8F0B440}"/>
          </ac:picMkLst>
        </pc:picChg>
        <pc:picChg chg="del">
          <ac:chgData name="Cyrille Scuri" userId="0ff3ad52-7312-41f1-b45c-1187e0d5d8d9" providerId="ADAL" clId="{B3699060-207F-412C-A743-345124403A71}" dt="2022-10-05T11:03:46.227" v="171" actId="478"/>
          <ac:picMkLst>
            <pc:docMk/>
            <pc:sldMk cId="1746227378" sldId="2147469505"/>
            <ac:picMk id="52" creationId="{76B0A9B3-8DCF-A3F8-FC78-0C866F5EA164}"/>
          </ac:picMkLst>
        </pc:picChg>
      </pc:sldChg>
      <pc:sldChg chg="add del">
        <pc:chgData name="Cyrille Scuri" userId="0ff3ad52-7312-41f1-b45c-1187e0d5d8d9" providerId="ADAL" clId="{B3699060-207F-412C-A743-345124403A71}" dt="2022-10-05T11:03:33.546" v="170"/>
        <pc:sldMkLst>
          <pc:docMk/>
          <pc:sldMk cId="1833122422" sldId="2147469505"/>
        </pc:sldMkLst>
      </pc:sldChg>
      <pc:sldChg chg="modSp del mod">
        <pc:chgData name="Cyrille Scuri" userId="0ff3ad52-7312-41f1-b45c-1187e0d5d8d9" providerId="ADAL" clId="{B3699060-207F-412C-A743-345124403A71}" dt="2022-10-07T13:40:08.383" v="1799" actId="47"/>
        <pc:sldMkLst>
          <pc:docMk/>
          <pc:sldMk cId="2995815770" sldId="2147469506"/>
        </pc:sldMkLst>
        <pc:spChg chg="mod">
          <ac:chgData name="Cyrille Scuri" userId="0ff3ad52-7312-41f1-b45c-1187e0d5d8d9" providerId="ADAL" clId="{B3699060-207F-412C-A743-345124403A71}" dt="2022-10-07T13:10:17.846" v="989" actId="20577"/>
          <ac:spMkLst>
            <pc:docMk/>
            <pc:sldMk cId="2995815770" sldId="2147469506"/>
            <ac:spMk id="15" creationId="{D27F2499-6765-C146-AAC3-6D4794692DFB}"/>
          </ac:spMkLst>
        </pc:spChg>
        <pc:spChg chg="mod">
          <ac:chgData name="Cyrille Scuri" userId="0ff3ad52-7312-41f1-b45c-1187e0d5d8d9" providerId="ADAL" clId="{B3699060-207F-412C-A743-345124403A71}" dt="2022-10-05T11:05:14.199" v="192" actId="14100"/>
          <ac:spMkLst>
            <pc:docMk/>
            <pc:sldMk cId="2995815770" sldId="2147469506"/>
            <ac:spMk id="20" creationId="{41516F9B-A7C0-3B43-9E56-CD49C41103D3}"/>
          </ac:spMkLst>
        </pc:spChg>
      </pc:sldChg>
      <pc:sldChg chg="modSp add del mod">
        <pc:chgData name="Cyrille Scuri" userId="0ff3ad52-7312-41f1-b45c-1187e0d5d8d9" providerId="ADAL" clId="{B3699060-207F-412C-A743-345124403A71}" dt="2022-10-10T08:05:45.665" v="2029" actId="47"/>
        <pc:sldMkLst>
          <pc:docMk/>
          <pc:sldMk cId="3409886397" sldId="2147469507"/>
        </pc:sldMkLst>
        <pc:spChg chg="mod">
          <ac:chgData name="Cyrille Scuri" userId="0ff3ad52-7312-41f1-b45c-1187e0d5d8d9" providerId="ADAL" clId="{B3699060-207F-412C-A743-345124403A71}" dt="2022-10-07T13:40:57.983" v="1804" actId="207"/>
          <ac:spMkLst>
            <pc:docMk/>
            <pc:sldMk cId="3409886397" sldId="2147469507"/>
            <ac:spMk id="8" creationId="{6EF9D717-1998-7D45-9EBE-55CF8691A10F}"/>
          </ac:spMkLst>
        </pc:spChg>
      </pc:sldChg>
      <pc:sldChg chg="modSp add mod">
        <pc:chgData name="Cyrille Scuri" userId="0ff3ad52-7312-41f1-b45c-1187e0d5d8d9" providerId="ADAL" clId="{B3699060-207F-412C-A743-345124403A71}" dt="2022-10-10T07:50:23.125" v="1931" actId="408"/>
        <pc:sldMkLst>
          <pc:docMk/>
          <pc:sldMk cId="854406071" sldId="2147469508"/>
        </pc:sldMkLst>
        <pc:spChg chg="mod">
          <ac:chgData name="Cyrille Scuri" userId="0ff3ad52-7312-41f1-b45c-1187e0d5d8d9" providerId="ADAL" clId="{B3699060-207F-412C-A743-345124403A71}" dt="2022-10-07T13:41:53.365" v="1818" actId="207"/>
          <ac:spMkLst>
            <pc:docMk/>
            <pc:sldMk cId="854406071" sldId="2147469508"/>
            <ac:spMk id="7" creationId="{16F7A73D-CAD3-1336-44DA-FB2C2BAEFAFA}"/>
          </ac:spMkLst>
        </pc:spChg>
        <pc:spChg chg="mod">
          <ac:chgData name="Cyrille Scuri" userId="0ff3ad52-7312-41f1-b45c-1187e0d5d8d9" providerId="ADAL" clId="{B3699060-207F-412C-A743-345124403A71}" dt="2022-10-07T13:41:51.352" v="1817" actId="207"/>
          <ac:spMkLst>
            <pc:docMk/>
            <pc:sldMk cId="854406071" sldId="2147469508"/>
            <ac:spMk id="8" creationId="{6EF9D717-1998-7D45-9EBE-55CF8691A10F}"/>
          </ac:spMkLst>
        </pc:spChg>
        <pc:spChg chg="mod">
          <ac:chgData name="Cyrille Scuri" userId="0ff3ad52-7312-41f1-b45c-1187e0d5d8d9" providerId="ADAL" clId="{B3699060-207F-412C-A743-345124403A71}" dt="2022-10-10T07:50:23.125" v="1931" actId="408"/>
          <ac:spMkLst>
            <pc:docMk/>
            <pc:sldMk cId="854406071" sldId="2147469508"/>
            <ac:spMk id="18" creationId="{3C0F60BA-DFBF-1EC0-2C16-5C914376BADE}"/>
          </ac:spMkLst>
        </pc:spChg>
      </pc:sldChg>
      <pc:sldChg chg="modSp add del mod">
        <pc:chgData name="Cyrille Scuri" userId="0ff3ad52-7312-41f1-b45c-1187e0d5d8d9" providerId="ADAL" clId="{B3699060-207F-412C-A743-345124403A71}" dt="2022-10-10T08:07:56.150" v="2047" actId="47"/>
        <pc:sldMkLst>
          <pc:docMk/>
          <pc:sldMk cId="1785520710" sldId="2147469509"/>
        </pc:sldMkLst>
        <pc:spChg chg="mod">
          <ac:chgData name="Cyrille Scuri" userId="0ff3ad52-7312-41f1-b45c-1187e0d5d8d9" providerId="ADAL" clId="{B3699060-207F-412C-A743-345124403A71}" dt="2022-10-07T13:41:06.951" v="1806" actId="207"/>
          <ac:spMkLst>
            <pc:docMk/>
            <pc:sldMk cId="1785520710" sldId="2147469509"/>
            <ac:spMk id="8" creationId="{6EF9D717-1998-7D45-9EBE-55CF8691A10F}"/>
          </ac:spMkLst>
        </pc:spChg>
        <pc:spChg chg="mod">
          <ac:chgData name="Cyrille Scuri" userId="0ff3ad52-7312-41f1-b45c-1187e0d5d8d9" providerId="ADAL" clId="{B3699060-207F-412C-A743-345124403A71}" dt="2022-10-10T08:06:42.948" v="2032" actId="1076"/>
          <ac:spMkLst>
            <pc:docMk/>
            <pc:sldMk cId="1785520710" sldId="2147469509"/>
            <ac:spMk id="41" creationId="{4F318C15-526A-E1CF-A2A3-DF266BB9A3BC}"/>
          </ac:spMkLst>
        </pc:spChg>
      </pc:sldChg>
      <pc:sldChg chg="modSp add mod">
        <pc:chgData name="Cyrille Scuri" userId="0ff3ad52-7312-41f1-b45c-1187e0d5d8d9" providerId="ADAL" clId="{B3699060-207F-412C-A743-345124403A71}" dt="2022-10-07T13:41:10.088" v="1807" actId="207"/>
        <pc:sldMkLst>
          <pc:docMk/>
          <pc:sldMk cId="2403260882" sldId="2147469510"/>
        </pc:sldMkLst>
        <pc:spChg chg="mod">
          <ac:chgData name="Cyrille Scuri" userId="0ff3ad52-7312-41f1-b45c-1187e0d5d8d9" providerId="ADAL" clId="{B3699060-207F-412C-A743-345124403A71}" dt="2022-10-07T13:41:10.088" v="1807" actId="207"/>
          <ac:spMkLst>
            <pc:docMk/>
            <pc:sldMk cId="2403260882" sldId="2147469510"/>
            <ac:spMk id="8" creationId="{6EF9D717-1998-7D45-9EBE-55CF8691A10F}"/>
          </ac:spMkLst>
        </pc:spChg>
      </pc:sldChg>
      <pc:sldChg chg="add del">
        <pc:chgData name="Cyrille Scuri" userId="0ff3ad52-7312-41f1-b45c-1187e0d5d8d9" providerId="ADAL" clId="{B3699060-207F-412C-A743-345124403A71}" dt="2022-10-07T13:08:44.980" v="943" actId="47"/>
        <pc:sldMkLst>
          <pc:docMk/>
          <pc:sldMk cId="3857876096" sldId="2147469511"/>
        </pc:sldMkLst>
      </pc:sldChg>
      <pc:sldChg chg="modSp add del mod">
        <pc:chgData name="Cyrille Scuri" userId="0ff3ad52-7312-41f1-b45c-1187e0d5d8d9" providerId="ADAL" clId="{B3699060-207F-412C-A743-345124403A71}" dt="2022-10-10T08:50:19.423" v="2404" actId="47"/>
        <pc:sldMkLst>
          <pc:docMk/>
          <pc:sldMk cId="2253334850" sldId="2147469512"/>
        </pc:sldMkLst>
        <pc:spChg chg="mod">
          <ac:chgData name="Cyrille Scuri" userId="0ff3ad52-7312-41f1-b45c-1187e0d5d8d9" providerId="ADAL" clId="{B3699060-207F-412C-A743-345124403A71}" dt="2022-10-07T13:51:56.123" v="1872" actId="20577"/>
          <ac:spMkLst>
            <pc:docMk/>
            <pc:sldMk cId="2253334850" sldId="2147469512"/>
            <ac:spMk id="3" creationId="{78EBAE30-E469-E059-0051-463D0D0D9985}"/>
          </ac:spMkLst>
        </pc:spChg>
        <pc:spChg chg="mod">
          <ac:chgData name="Cyrille Scuri" userId="0ff3ad52-7312-41f1-b45c-1187e0d5d8d9" providerId="ADAL" clId="{B3699060-207F-412C-A743-345124403A71}" dt="2022-10-07T13:51:49.980" v="1870" actId="20577"/>
          <ac:spMkLst>
            <pc:docMk/>
            <pc:sldMk cId="2253334850" sldId="2147469512"/>
            <ac:spMk id="90" creationId="{F50886D8-EC34-8FB4-C35F-F832CC5B4C9B}"/>
          </ac:spMkLst>
        </pc:spChg>
        <pc:spChg chg="mod">
          <ac:chgData name="Cyrille Scuri" userId="0ff3ad52-7312-41f1-b45c-1187e0d5d8d9" providerId="ADAL" clId="{B3699060-207F-412C-A743-345124403A71}" dt="2022-10-10T08:47:08.546" v="2343" actId="20577"/>
          <ac:spMkLst>
            <pc:docMk/>
            <pc:sldMk cId="2253334850" sldId="2147469512"/>
            <ac:spMk id="92" creationId="{647DB194-D391-F274-66D3-0ECCB094DDFD}"/>
          </ac:spMkLst>
        </pc:spChg>
        <pc:spChg chg="mod">
          <ac:chgData name="Cyrille Scuri" userId="0ff3ad52-7312-41f1-b45c-1187e0d5d8d9" providerId="ADAL" clId="{B3699060-207F-412C-A743-345124403A71}" dt="2022-10-07T13:41:21.809" v="1810" actId="207"/>
          <ac:spMkLst>
            <pc:docMk/>
            <pc:sldMk cId="2253334850" sldId="2147469512"/>
            <ac:spMk id="104" creationId="{A9410F86-465F-17E8-0A8E-D272C7AEBC61}"/>
          </ac:spMkLst>
        </pc:spChg>
      </pc:sldChg>
      <pc:sldChg chg="addSp delSp modSp add mod">
        <pc:chgData name="Cyrille Scuri" userId="0ff3ad52-7312-41f1-b45c-1187e0d5d8d9" providerId="ADAL" clId="{B3699060-207F-412C-A743-345124403A71}" dt="2022-10-07T13:39:57.386" v="1798" actId="948"/>
        <pc:sldMkLst>
          <pc:docMk/>
          <pc:sldMk cId="2435328987" sldId="2147469513"/>
        </pc:sldMkLst>
        <pc:spChg chg="add del mod">
          <ac:chgData name="Cyrille Scuri" userId="0ff3ad52-7312-41f1-b45c-1187e0d5d8d9" providerId="ADAL" clId="{B3699060-207F-412C-A743-345124403A71}" dt="2022-10-07T13:39:06.269" v="1698" actId="478"/>
          <ac:spMkLst>
            <pc:docMk/>
            <pc:sldMk cId="2435328987" sldId="2147469513"/>
            <ac:spMk id="2" creationId="{E4CBF164-665B-7212-527D-A3A5D455435C}"/>
          </ac:spMkLst>
        </pc:spChg>
        <pc:spChg chg="add mod">
          <ac:chgData name="Cyrille Scuri" userId="0ff3ad52-7312-41f1-b45c-1187e0d5d8d9" providerId="ADAL" clId="{B3699060-207F-412C-A743-345124403A71}" dt="2022-10-07T13:39:45.133" v="1796" actId="1036"/>
          <ac:spMkLst>
            <pc:docMk/>
            <pc:sldMk cId="2435328987" sldId="2147469513"/>
            <ac:spMk id="3" creationId="{B2F2B556-EE0D-68DB-9F23-AEA3336A16B9}"/>
          </ac:spMkLst>
        </pc:spChg>
        <pc:spChg chg="add mod">
          <ac:chgData name="Cyrille Scuri" userId="0ff3ad52-7312-41f1-b45c-1187e0d5d8d9" providerId="ADAL" clId="{B3699060-207F-412C-A743-345124403A71}" dt="2022-10-07T13:39:45.133" v="1796" actId="1036"/>
          <ac:spMkLst>
            <pc:docMk/>
            <pc:sldMk cId="2435328987" sldId="2147469513"/>
            <ac:spMk id="4" creationId="{C5341350-C520-1016-1932-5B557E4EDED0}"/>
          </ac:spMkLst>
        </pc:spChg>
        <pc:spChg chg="mod">
          <ac:chgData name="Cyrille Scuri" userId="0ff3ad52-7312-41f1-b45c-1187e0d5d8d9" providerId="ADAL" clId="{B3699060-207F-412C-A743-345124403A71}" dt="2022-10-07T13:39:57.386" v="1798" actId="948"/>
          <ac:spMkLst>
            <pc:docMk/>
            <pc:sldMk cId="2435328987" sldId="2147469513"/>
            <ac:spMk id="6" creationId="{C59D2B2D-D836-4DCD-8216-723D788F4BA1}"/>
          </ac:spMkLst>
        </pc:spChg>
        <pc:spChg chg="add mod">
          <ac:chgData name="Cyrille Scuri" userId="0ff3ad52-7312-41f1-b45c-1187e0d5d8d9" providerId="ADAL" clId="{B3699060-207F-412C-A743-345124403A71}" dt="2022-10-07T13:39:45.133" v="1796" actId="1036"/>
          <ac:spMkLst>
            <pc:docMk/>
            <pc:sldMk cId="2435328987" sldId="2147469513"/>
            <ac:spMk id="7" creationId="{F9DF0CBB-A839-B268-CD78-242AD8211C62}"/>
          </ac:spMkLst>
        </pc:spChg>
        <pc:spChg chg="del">
          <ac:chgData name="Cyrille Scuri" userId="0ff3ad52-7312-41f1-b45c-1187e0d5d8d9" providerId="ADAL" clId="{B3699060-207F-412C-A743-345124403A71}" dt="2022-10-07T13:38:20.782" v="1585" actId="478"/>
          <ac:spMkLst>
            <pc:docMk/>
            <pc:sldMk cId="2435328987" sldId="2147469513"/>
            <ac:spMk id="11" creationId="{3EDC0634-4410-239C-E45E-69A2540C5393}"/>
          </ac:spMkLst>
        </pc:spChg>
        <pc:spChg chg="del">
          <ac:chgData name="Cyrille Scuri" userId="0ff3ad52-7312-41f1-b45c-1187e0d5d8d9" providerId="ADAL" clId="{B3699060-207F-412C-A743-345124403A71}" dt="2022-10-07T13:38:20.782" v="1585" actId="478"/>
          <ac:spMkLst>
            <pc:docMk/>
            <pc:sldMk cId="2435328987" sldId="2147469513"/>
            <ac:spMk id="12" creationId="{26395E75-93CC-EF5B-D5D9-DD8318945D1A}"/>
          </ac:spMkLst>
        </pc:spChg>
        <pc:picChg chg="del">
          <ac:chgData name="Cyrille Scuri" userId="0ff3ad52-7312-41f1-b45c-1187e0d5d8d9" providerId="ADAL" clId="{B3699060-207F-412C-A743-345124403A71}" dt="2022-10-07T13:38:20.782" v="1585" actId="478"/>
          <ac:picMkLst>
            <pc:docMk/>
            <pc:sldMk cId="2435328987" sldId="2147469513"/>
            <ac:picMk id="8" creationId="{77B915E7-00C1-3DAB-37A8-F42F3F45A00C}"/>
          </ac:picMkLst>
        </pc:picChg>
        <pc:picChg chg="add mod">
          <ac:chgData name="Cyrille Scuri" userId="0ff3ad52-7312-41f1-b45c-1187e0d5d8d9" providerId="ADAL" clId="{B3699060-207F-412C-A743-345124403A71}" dt="2022-10-07T13:39:45.133" v="1796" actId="1036"/>
          <ac:picMkLst>
            <pc:docMk/>
            <pc:sldMk cId="2435328987" sldId="2147469513"/>
            <ac:picMk id="9" creationId="{9C75589A-9A76-5359-0F59-DB8F8D23DC39}"/>
          </ac:picMkLst>
        </pc:picChg>
        <pc:picChg chg="del">
          <ac:chgData name="Cyrille Scuri" userId="0ff3ad52-7312-41f1-b45c-1187e0d5d8d9" providerId="ADAL" clId="{B3699060-207F-412C-A743-345124403A71}" dt="2022-10-07T13:38:20.782" v="1585" actId="478"/>
          <ac:picMkLst>
            <pc:docMk/>
            <pc:sldMk cId="2435328987" sldId="2147469513"/>
            <ac:picMk id="10" creationId="{59F64C48-7246-C02F-45F5-FCB303BE7185}"/>
          </ac:picMkLst>
        </pc:picChg>
        <pc:picChg chg="add mod">
          <ac:chgData name="Cyrille Scuri" userId="0ff3ad52-7312-41f1-b45c-1187e0d5d8d9" providerId="ADAL" clId="{B3699060-207F-412C-A743-345124403A71}" dt="2022-10-07T13:39:45.133" v="1796" actId="1036"/>
          <ac:picMkLst>
            <pc:docMk/>
            <pc:sldMk cId="2435328987" sldId="2147469513"/>
            <ac:picMk id="13" creationId="{5CB7A7BE-8626-FC81-F944-7703C8F2F0BC}"/>
          </ac:picMkLst>
        </pc:picChg>
        <pc:picChg chg="add mod">
          <ac:chgData name="Cyrille Scuri" userId="0ff3ad52-7312-41f1-b45c-1187e0d5d8d9" providerId="ADAL" clId="{B3699060-207F-412C-A743-345124403A71}" dt="2022-10-07T13:39:45.133" v="1796" actId="1036"/>
          <ac:picMkLst>
            <pc:docMk/>
            <pc:sldMk cId="2435328987" sldId="2147469513"/>
            <ac:picMk id="14" creationId="{CC1512E3-93C1-B843-46E8-E5C3A54F44BF}"/>
          </ac:picMkLst>
        </pc:picChg>
        <pc:picChg chg="mod">
          <ac:chgData name="Cyrille Scuri" userId="0ff3ad52-7312-41f1-b45c-1187e0d5d8d9" providerId="ADAL" clId="{B3699060-207F-412C-A743-345124403A71}" dt="2022-10-07T13:38:30.070" v="1588" actId="1076"/>
          <ac:picMkLst>
            <pc:docMk/>
            <pc:sldMk cId="2435328987" sldId="2147469513"/>
            <ac:picMk id="1026" creationId="{F55EBC79-755A-9142-974C-9609834FF432}"/>
          </ac:picMkLst>
        </pc:picChg>
      </pc:sldChg>
      <pc:sldChg chg="addSp delSp modSp add del mod setBg">
        <pc:chgData name="Cyrille Scuri" userId="0ff3ad52-7312-41f1-b45c-1187e0d5d8d9" providerId="ADAL" clId="{B3699060-207F-412C-A743-345124403A71}" dt="2022-10-07T13:38:08.639" v="1583" actId="47"/>
        <pc:sldMkLst>
          <pc:docMk/>
          <pc:sldMk cId="2764000808" sldId="2147469513"/>
        </pc:sldMkLst>
        <pc:spChg chg="del">
          <ac:chgData name="Cyrille Scuri" userId="0ff3ad52-7312-41f1-b45c-1187e0d5d8d9" providerId="ADAL" clId="{B3699060-207F-412C-A743-345124403A71}" dt="2022-10-07T13:13:06.068" v="991" actId="478"/>
          <ac:spMkLst>
            <pc:docMk/>
            <pc:sldMk cId="2764000808" sldId="2147469513"/>
            <ac:spMk id="2" creationId="{9D700165-7709-4448-9C72-78B6855F8163}"/>
          </ac:spMkLst>
        </pc:spChg>
        <pc:spChg chg="del">
          <ac:chgData name="Cyrille Scuri" userId="0ff3ad52-7312-41f1-b45c-1187e0d5d8d9" providerId="ADAL" clId="{B3699060-207F-412C-A743-345124403A71}" dt="2022-10-07T13:13:06.068" v="991" actId="478"/>
          <ac:spMkLst>
            <pc:docMk/>
            <pc:sldMk cId="2764000808" sldId="2147469513"/>
            <ac:spMk id="6" creationId="{C59D2B2D-D836-4DCD-8216-723D788F4BA1}"/>
          </ac:spMkLst>
        </pc:spChg>
        <pc:spChg chg="add del">
          <ac:chgData name="Cyrille Scuri" userId="0ff3ad52-7312-41f1-b45c-1187e0d5d8d9" providerId="ADAL" clId="{B3699060-207F-412C-A743-345124403A71}" dt="2022-10-07T13:13:26.675" v="997" actId="26606"/>
          <ac:spMkLst>
            <pc:docMk/>
            <pc:sldMk cId="2764000808" sldId="2147469513"/>
            <ac:spMk id="8" creationId="{42A4FC2C-047E-45A5-965D-8E1E3BF09BC6}"/>
          </ac:spMkLst>
        </pc:spChg>
        <pc:spChg chg="del">
          <ac:chgData name="Cyrille Scuri" userId="0ff3ad52-7312-41f1-b45c-1187e0d5d8d9" providerId="ADAL" clId="{B3699060-207F-412C-A743-345124403A71}" dt="2022-10-07T13:13:06.068" v="991" actId="478"/>
          <ac:spMkLst>
            <pc:docMk/>
            <pc:sldMk cId="2764000808" sldId="2147469513"/>
            <ac:spMk id="9" creationId="{DC19C0F0-2AAD-4B72-9BA6-88ED6DC824C9}"/>
          </ac:spMkLst>
        </pc:spChg>
        <pc:spChg chg="add del mod">
          <ac:chgData name="Cyrille Scuri" userId="0ff3ad52-7312-41f1-b45c-1187e0d5d8d9" providerId="ADAL" clId="{B3699060-207F-412C-A743-345124403A71}" dt="2022-10-07T13:36:55.053" v="1579" actId="478"/>
          <ac:spMkLst>
            <pc:docMk/>
            <pc:sldMk cId="2764000808" sldId="2147469513"/>
            <ac:spMk id="17" creationId="{872240B3-5F23-652B-4CDB-1D21014CA34E}"/>
          </ac:spMkLst>
        </pc:spChg>
        <pc:spChg chg="add del mod">
          <ac:chgData name="Cyrille Scuri" userId="0ff3ad52-7312-41f1-b45c-1187e0d5d8d9" providerId="ADAL" clId="{B3699060-207F-412C-A743-345124403A71}" dt="2022-10-07T13:36:57.684" v="1580" actId="478"/>
          <ac:spMkLst>
            <pc:docMk/>
            <pc:sldMk cId="2764000808" sldId="2147469513"/>
            <ac:spMk id="20" creationId="{96D61A6C-F9B2-D78C-A3F2-B63E3D621CC1}"/>
          </ac:spMkLst>
        </pc:spChg>
        <pc:spChg chg="add del mod">
          <ac:chgData name="Cyrille Scuri" userId="0ff3ad52-7312-41f1-b45c-1187e0d5d8d9" providerId="ADAL" clId="{B3699060-207F-412C-A743-345124403A71}" dt="2022-10-07T13:36:57.684" v="1580" actId="478"/>
          <ac:spMkLst>
            <pc:docMk/>
            <pc:sldMk cId="2764000808" sldId="2147469513"/>
            <ac:spMk id="21" creationId="{48AF677F-97F9-D8B8-60E3-4B7ADEBA527D}"/>
          </ac:spMkLst>
        </pc:spChg>
        <pc:spChg chg="add mod">
          <ac:chgData name="Cyrille Scuri" userId="0ff3ad52-7312-41f1-b45c-1187e0d5d8d9" providerId="ADAL" clId="{B3699060-207F-412C-A743-345124403A71}" dt="2022-10-07T13:37:51.162" v="1581"/>
          <ac:spMkLst>
            <pc:docMk/>
            <pc:sldMk cId="2764000808" sldId="2147469513"/>
            <ac:spMk id="24" creationId="{2B1D9AB2-739C-DD8D-0F2A-3ED6D0D189D7}"/>
          </ac:spMkLst>
        </pc:spChg>
        <pc:spChg chg="add mod">
          <ac:chgData name="Cyrille Scuri" userId="0ff3ad52-7312-41f1-b45c-1187e0d5d8d9" providerId="ADAL" clId="{B3699060-207F-412C-A743-345124403A71}" dt="2022-10-07T13:37:51.162" v="1581"/>
          <ac:spMkLst>
            <pc:docMk/>
            <pc:sldMk cId="2764000808" sldId="2147469513"/>
            <ac:spMk id="27" creationId="{3ED93685-3D28-8024-995F-CADDF60162A3}"/>
          </ac:spMkLst>
        </pc:spChg>
        <pc:spChg chg="add mod">
          <ac:chgData name="Cyrille Scuri" userId="0ff3ad52-7312-41f1-b45c-1187e0d5d8d9" providerId="ADAL" clId="{B3699060-207F-412C-A743-345124403A71}" dt="2022-10-07T13:37:51.162" v="1581"/>
          <ac:spMkLst>
            <pc:docMk/>
            <pc:sldMk cId="2764000808" sldId="2147469513"/>
            <ac:spMk id="28" creationId="{AD4C7047-2261-97D0-3B7E-99A3B27D0AEB}"/>
          </ac:spMkLst>
        </pc:spChg>
        <pc:picChg chg="add mod">
          <ac:chgData name="Cyrille Scuri" userId="0ff3ad52-7312-41f1-b45c-1187e0d5d8d9" providerId="ADAL" clId="{B3699060-207F-412C-A743-345124403A71}" dt="2022-10-07T13:13:35.902" v="999" actId="14100"/>
          <ac:picMkLst>
            <pc:docMk/>
            <pc:sldMk cId="2764000808" sldId="2147469513"/>
            <ac:picMk id="4" creationId="{515D73CE-51C4-E106-4FB1-CDB451CBB3A4}"/>
          </ac:picMkLst>
        </pc:picChg>
        <pc:picChg chg="del">
          <ac:chgData name="Cyrille Scuri" userId="0ff3ad52-7312-41f1-b45c-1187e0d5d8d9" providerId="ADAL" clId="{B3699060-207F-412C-A743-345124403A71}" dt="2022-10-07T13:13:06.068" v="991" actId="478"/>
          <ac:picMkLst>
            <pc:docMk/>
            <pc:sldMk cId="2764000808" sldId="2147469513"/>
            <ac:picMk id="5" creationId="{2E7E8032-4EA0-4542-96D3-7BA53DB3120A}"/>
          </ac:picMkLst>
        </pc:picChg>
        <pc:picChg chg="add del mod">
          <ac:chgData name="Cyrille Scuri" userId="0ff3ad52-7312-41f1-b45c-1187e0d5d8d9" providerId="ADAL" clId="{B3699060-207F-412C-A743-345124403A71}" dt="2022-10-07T13:15:02.993" v="1004" actId="478"/>
          <ac:picMkLst>
            <pc:docMk/>
            <pc:sldMk cId="2764000808" sldId="2147469513"/>
            <ac:picMk id="11" creationId="{48343EE9-D6F1-87FF-773F-A422A43A9AF5}"/>
          </ac:picMkLst>
        </pc:picChg>
        <pc:picChg chg="add del mod">
          <ac:chgData name="Cyrille Scuri" userId="0ff3ad52-7312-41f1-b45c-1187e0d5d8d9" providerId="ADAL" clId="{B3699060-207F-412C-A743-345124403A71}" dt="2022-10-07T13:15:40.741" v="1006"/>
          <ac:picMkLst>
            <pc:docMk/>
            <pc:sldMk cId="2764000808" sldId="2147469513"/>
            <ac:picMk id="12" creationId="{43A29D45-A99B-CDAE-F073-4FBD33AB850E}"/>
          </ac:picMkLst>
        </pc:picChg>
        <pc:picChg chg="add del mod">
          <ac:chgData name="Cyrille Scuri" userId="0ff3ad52-7312-41f1-b45c-1187e0d5d8d9" providerId="ADAL" clId="{B3699060-207F-412C-A743-345124403A71}" dt="2022-10-07T13:36:57.684" v="1580" actId="478"/>
          <ac:picMkLst>
            <pc:docMk/>
            <pc:sldMk cId="2764000808" sldId="2147469513"/>
            <ac:picMk id="14" creationId="{12F7177A-57FA-65D7-B686-E2277708C731}"/>
          </ac:picMkLst>
        </pc:picChg>
        <pc:picChg chg="add del mod">
          <ac:chgData name="Cyrille Scuri" userId="0ff3ad52-7312-41f1-b45c-1187e0d5d8d9" providerId="ADAL" clId="{B3699060-207F-412C-A743-345124403A71}" dt="2022-10-07T13:36:57.684" v="1580" actId="478"/>
          <ac:picMkLst>
            <pc:docMk/>
            <pc:sldMk cId="2764000808" sldId="2147469513"/>
            <ac:picMk id="16" creationId="{AF2A0F7A-62FE-A7C4-0430-FBAC4CC33EA5}"/>
          </ac:picMkLst>
        </pc:picChg>
        <pc:picChg chg="add del mod">
          <ac:chgData name="Cyrille Scuri" userId="0ff3ad52-7312-41f1-b45c-1187e0d5d8d9" providerId="ADAL" clId="{B3699060-207F-412C-A743-345124403A71}" dt="2022-10-07T13:21:20.033" v="1027"/>
          <ac:picMkLst>
            <pc:docMk/>
            <pc:sldMk cId="2764000808" sldId="2147469513"/>
            <ac:picMk id="18" creationId="{ACD300A5-A314-17C2-0E3F-0BDFCE853967}"/>
          </ac:picMkLst>
        </pc:picChg>
        <pc:picChg chg="add del mod">
          <ac:chgData name="Cyrille Scuri" userId="0ff3ad52-7312-41f1-b45c-1187e0d5d8d9" providerId="ADAL" clId="{B3699060-207F-412C-A743-345124403A71}" dt="2022-10-07T13:22:46.562" v="1032" actId="478"/>
          <ac:picMkLst>
            <pc:docMk/>
            <pc:sldMk cId="2764000808" sldId="2147469513"/>
            <ac:picMk id="19" creationId="{ED522F3C-9120-97D8-BBE5-9034E8E594F6}"/>
          </ac:picMkLst>
        </pc:picChg>
        <pc:picChg chg="add del mod">
          <ac:chgData name="Cyrille Scuri" userId="0ff3ad52-7312-41f1-b45c-1187e0d5d8d9" providerId="ADAL" clId="{B3699060-207F-412C-A743-345124403A71}" dt="2022-10-07T13:38:02.922" v="1582" actId="478"/>
          <ac:picMkLst>
            <pc:docMk/>
            <pc:sldMk cId="2764000808" sldId="2147469513"/>
            <ac:picMk id="22" creationId="{D26EF73D-0B48-00B2-8096-2B980C5F2625}"/>
          </ac:picMkLst>
        </pc:picChg>
        <pc:picChg chg="add mod">
          <ac:chgData name="Cyrille Scuri" userId="0ff3ad52-7312-41f1-b45c-1187e0d5d8d9" providerId="ADAL" clId="{B3699060-207F-412C-A743-345124403A71}" dt="2022-10-07T13:37:51.162" v="1581"/>
          <ac:picMkLst>
            <pc:docMk/>
            <pc:sldMk cId="2764000808" sldId="2147469513"/>
            <ac:picMk id="23" creationId="{43093B66-6C4F-018C-EB62-6B8AF419D099}"/>
          </ac:picMkLst>
        </pc:picChg>
        <pc:picChg chg="add mod">
          <ac:chgData name="Cyrille Scuri" userId="0ff3ad52-7312-41f1-b45c-1187e0d5d8d9" providerId="ADAL" clId="{B3699060-207F-412C-A743-345124403A71}" dt="2022-10-07T13:37:51.162" v="1581"/>
          <ac:picMkLst>
            <pc:docMk/>
            <pc:sldMk cId="2764000808" sldId="2147469513"/>
            <ac:picMk id="25" creationId="{2D001E0B-604C-176E-05B2-353E19074402}"/>
          </ac:picMkLst>
        </pc:picChg>
        <pc:picChg chg="add mod">
          <ac:chgData name="Cyrille Scuri" userId="0ff3ad52-7312-41f1-b45c-1187e0d5d8d9" providerId="ADAL" clId="{B3699060-207F-412C-A743-345124403A71}" dt="2022-10-07T13:37:51.162" v="1581"/>
          <ac:picMkLst>
            <pc:docMk/>
            <pc:sldMk cId="2764000808" sldId="2147469513"/>
            <ac:picMk id="26" creationId="{8C612794-BF31-09C4-37B3-C38603ED6218}"/>
          </ac:picMkLst>
        </pc:picChg>
        <pc:picChg chg="del">
          <ac:chgData name="Cyrille Scuri" userId="0ff3ad52-7312-41f1-b45c-1187e0d5d8d9" providerId="ADAL" clId="{B3699060-207F-412C-A743-345124403A71}" dt="2022-10-07T13:13:08.128" v="992" actId="478"/>
          <ac:picMkLst>
            <pc:docMk/>
            <pc:sldMk cId="2764000808" sldId="2147469513"/>
            <ac:picMk id="1026" creationId="{F55EBC79-755A-9142-974C-9609834FF432}"/>
          </ac:picMkLst>
        </pc:picChg>
        <pc:cxnChg chg="del">
          <ac:chgData name="Cyrille Scuri" userId="0ff3ad52-7312-41f1-b45c-1187e0d5d8d9" providerId="ADAL" clId="{B3699060-207F-412C-A743-345124403A71}" dt="2022-10-07T13:13:06.068" v="991" actId="478"/>
          <ac:cxnSpMkLst>
            <pc:docMk/>
            <pc:sldMk cId="2764000808" sldId="2147469513"/>
            <ac:cxnSpMk id="7" creationId="{480262C8-EE43-44C5-8CF1-7055F6DF8990}"/>
          </ac:cxnSpMkLst>
        </pc:cxnChg>
      </pc:sldChg>
      <pc:sldMasterChg chg="del delSldLayout">
        <pc:chgData name="Cyrille Scuri" userId="0ff3ad52-7312-41f1-b45c-1187e0d5d8d9" providerId="ADAL" clId="{B3699060-207F-412C-A743-345124403A71}" dt="2022-10-07T13:40:08.383" v="1799" actId="47"/>
        <pc:sldMasterMkLst>
          <pc:docMk/>
          <pc:sldMasterMk cId="458414875" sldId="2147484447"/>
        </pc:sldMasterMkLst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426277179" sldId="2147484448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192664927" sldId="2147484449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70004762" sldId="2147484450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567468735" sldId="2147484451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578474199" sldId="2147484452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366997826" sldId="2147484453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57435752" sldId="2147484454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021172032" sldId="2147484455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81680258" sldId="2147484456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453488812" sldId="2147484457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716838531" sldId="2147484458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939823492" sldId="2147484459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158792458" sldId="2147484460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120486518" sldId="2147484461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687708367" sldId="2147484462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6485876" sldId="2147484463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865789720" sldId="2147484464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989346426" sldId="2147484465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636293982" sldId="2147484466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485820806" sldId="2147484467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950868560" sldId="2147484468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671607130" sldId="2147484469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039040164" sldId="2147484470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4018898260" sldId="2147484471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572316198" sldId="2147484473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810157325" sldId="2147484474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967263210" sldId="2147484475"/>
          </pc:sldLayoutMkLst>
        </pc:sldLayoutChg>
        <pc:sldLayoutChg chg="del">
          <pc:chgData name="Cyrille Scuri" userId="0ff3ad52-7312-41f1-b45c-1187e0d5d8d9" providerId="ADAL" clId="{B3699060-207F-412C-A743-345124403A71}" dt="2022-10-05T11:42:10.182" v="596" actId="47"/>
          <pc:sldLayoutMkLst>
            <pc:docMk/>
            <pc:sldMasterMk cId="458414875" sldId="2147484447"/>
            <pc:sldLayoutMk cId="2621964298" sldId="2147484476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295678158" sldId="2147484477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81165037" sldId="2147484478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4253386330" sldId="2147484479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993688348" sldId="2147484480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737499901" sldId="2147484481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2095959351" sldId="2147484483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989647893" sldId="2147484484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4005137529" sldId="2147484485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1153569008" sldId="2147484486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706288025" sldId="2147484487"/>
          </pc:sldLayoutMkLst>
        </pc:sldLayoutChg>
        <pc:sldLayoutChg chg="del">
          <pc:chgData name="Cyrille Scuri" userId="0ff3ad52-7312-41f1-b45c-1187e0d5d8d9" providerId="ADAL" clId="{B3699060-207F-412C-A743-345124403A71}" dt="2022-10-07T13:40:08.383" v="1799" actId="47"/>
          <pc:sldLayoutMkLst>
            <pc:docMk/>
            <pc:sldMasterMk cId="458414875" sldId="2147484447"/>
            <pc:sldLayoutMk cId="3549416006" sldId="2147484488"/>
          </pc:sldLayoutMkLst>
        </pc:sldLayoutChg>
      </pc:sldMasterChg>
    </pc:docChg>
  </pc:docChgLst>
  <pc:docChgLst>
    <pc:chgData name="Adrien Grenat" userId="47f04720-d3c9-481f-98e8-8a0881ee2cfb" providerId="ADAL" clId="{94840CA2-62FE-4F78-82B9-8012FF511608}"/>
    <pc:docChg chg="modSld">
      <pc:chgData name="Adrien Grenat" userId="47f04720-d3c9-481f-98e8-8a0881ee2cfb" providerId="ADAL" clId="{94840CA2-62FE-4F78-82B9-8012FF511608}" dt="2022-10-11T17:57:04.661" v="4"/>
      <pc:docMkLst>
        <pc:docMk/>
      </pc:docMkLst>
      <pc:sldChg chg="mod modShow">
        <pc:chgData name="Adrien Grenat" userId="47f04720-d3c9-481f-98e8-8a0881ee2cfb" providerId="ADAL" clId="{94840CA2-62FE-4F78-82B9-8012FF511608}" dt="2022-10-11T17:56:37.276" v="0" actId="729"/>
        <pc:sldMkLst>
          <pc:docMk/>
          <pc:sldMk cId="1734838540" sldId="2147469342"/>
        </pc:sldMkLst>
      </pc:sldChg>
      <pc:sldChg chg="modTransition modAnim">
        <pc:chgData name="Adrien Grenat" userId="47f04720-d3c9-481f-98e8-8a0881ee2cfb" providerId="ADAL" clId="{94840CA2-62FE-4F78-82B9-8012FF511608}" dt="2022-10-11T17:57:04.661" v="4"/>
        <pc:sldMkLst>
          <pc:docMk/>
          <pc:sldMk cId="814208224" sldId="2147469391"/>
        </pc:sldMkLst>
      </pc:sldChg>
    </pc:docChg>
  </pc:docChgLst>
  <pc:docChgLst>
    <pc:chgData name="Cyrille Scuri" userId="0ff3ad52-7312-41f1-b45c-1187e0d5d8d9" providerId="ADAL" clId="{D295DB46-1D78-470C-92CC-0D5F3AD21CF6}"/>
    <pc:docChg chg="undo custSel addSld delSld modSld sldOrd delMainMaster">
      <pc:chgData name="Cyrille Scuri" userId="0ff3ad52-7312-41f1-b45c-1187e0d5d8d9" providerId="ADAL" clId="{D295DB46-1D78-470C-92CC-0D5F3AD21CF6}" dt="2022-09-08T14:47:39.514" v="5162" actId="47"/>
      <pc:docMkLst>
        <pc:docMk/>
      </pc:docMkLst>
      <pc:sldChg chg="del ord">
        <pc:chgData name="Cyrille Scuri" userId="0ff3ad52-7312-41f1-b45c-1187e0d5d8d9" providerId="ADAL" clId="{D295DB46-1D78-470C-92CC-0D5F3AD21CF6}" dt="2022-09-06T10:06:40.370" v="168" actId="47"/>
        <pc:sldMkLst>
          <pc:docMk/>
          <pc:sldMk cId="2606909777" sldId="3715"/>
        </pc:sldMkLst>
      </pc:sldChg>
      <pc:sldChg chg="add del">
        <pc:chgData name="Cyrille Scuri" userId="0ff3ad52-7312-41f1-b45c-1187e0d5d8d9" providerId="ADAL" clId="{D295DB46-1D78-470C-92CC-0D5F3AD21CF6}" dt="2022-09-07T08:13:33.456" v="275" actId="47"/>
        <pc:sldMkLst>
          <pc:docMk/>
          <pc:sldMk cId="2594510220" sldId="3761"/>
        </pc:sldMkLst>
      </pc:sldChg>
      <pc:sldChg chg="modSp add del mod">
        <pc:chgData name="Cyrille Scuri" userId="0ff3ad52-7312-41f1-b45c-1187e0d5d8d9" providerId="ADAL" clId="{D295DB46-1D78-470C-92CC-0D5F3AD21CF6}" dt="2022-09-07T08:13:25.133" v="274" actId="47"/>
        <pc:sldMkLst>
          <pc:docMk/>
          <pc:sldMk cId="2972828468" sldId="3762"/>
        </pc:sldMkLst>
        <pc:spChg chg="mod">
          <ac:chgData name="Cyrille Scuri" userId="0ff3ad52-7312-41f1-b45c-1187e0d5d8d9" providerId="ADAL" clId="{D295DB46-1D78-470C-92CC-0D5F3AD21CF6}" dt="2022-09-07T08:12:53.368" v="268" actId="1076"/>
          <ac:spMkLst>
            <pc:docMk/>
            <pc:sldMk cId="2972828468" sldId="3762"/>
            <ac:spMk id="118" creationId="{D670D6EA-C839-4E42-81F7-8360431F4546}"/>
          </ac:spMkLst>
        </pc:spChg>
      </pc:sldChg>
      <pc:sldChg chg="del">
        <pc:chgData name="Cyrille Scuri" userId="0ff3ad52-7312-41f1-b45c-1187e0d5d8d9" providerId="ADAL" clId="{D295DB46-1D78-470C-92CC-0D5F3AD21CF6}" dt="2022-09-07T12:57:22.959" v="632" actId="47"/>
        <pc:sldMkLst>
          <pc:docMk/>
          <pc:sldMk cId="1020106481" sldId="3842"/>
        </pc:sldMkLst>
      </pc:sldChg>
      <pc:sldChg chg="modTransition">
        <pc:chgData name="Cyrille Scuri" userId="0ff3ad52-7312-41f1-b45c-1187e0d5d8d9" providerId="ADAL" clId="{D295DB46-1D78-470C-92CC-0D5F3AD21CF6}" dt="2022-09-07T15:06:23.212" v="2643"/>
        <pc:sldMkLst>
          <pc:docMk/>
          <pc:sldMk cId="1462500275" sldId="3864"/>
        </pc:sldMkLst>
      </pc:sldChg>
      <pc:sldChg chg="del">
        <pc:chgData name="Cyrille Scuri" userId="0ff3ad52-7312-41f1-b45c-1187e0d5d8d9" providerId="ADAL" clId="{D295DB46-1D78-470C-92CC-0D5F3AD21CF6}" dt="2022-09-07T12:57:21.529" v="630" actId="47"/>
        <pc:sldMkLst>
          <pc:docMk/>
          <pc:sldMk cId="2387155228" sldId="3867"/>
        </pc:sldMkLst>
      </pc:sldChg>
      <pc:sldChg chg="del">
        <pc:chgData name="Cyrille Scuri" userId="0ff3ad52-7312-41f1-b45c-1187e0d5d8d9" providerId="ADAL" clId="{D295DB46-1D78-470C-92CC-0D5F3AD21CF6}" dt="2022-09-07T12:57:22.092" v="631" actId="47"/>
        <pc:sldMkLst>
          <pc:docMk/>
          <pc:sldMk cId="2564877625" sldId="3872"/>
        </pc:sldMkLst>
      </pc:sldChg>
      <pc:sldChg chg="addSp delSp modSp del mod">
        <pc:chgData name="Cyrille Scuri" userId="0ff3ad52-7312-41f1-b45c-1187e0d5d8d9" providerId="ADAL" clId="{D295DB46-1D78-470C-92CC-0D5F3AD21CF6}" dt="2022-09-07T14:05:34.969" v="2458" actId="47"/>
        <pc:sldMkLst>
          <pc:docMk/>
          <pc:sldMk cId="544137720" sldId="3880"/>
        </pc:sldMkLst>
        <pc:spChg chg="del">
          <ac:chgData name="Cyrille Scuri" userId="0ff3ad52-7312-41f1-b45c-1187e0d5d8d9" providerId="ADAL" clId="{D295DB46-1D78-470C-92CC-0D5F3AD21CF6}" dt="2022-09-07T14:03:38.219" v="2419" actId="478"/>
          <ac:spMkLst>
            <pc:docMk/>
            <pc:sldMk cId="544137720" sldId="3880"/>
            <ac:spMk id="2" creationId="{459A55DB-10C1-0254-1B7C-F91D1839A15C}"/>
          </ac:spMkLst>
        </pc:spChg>
        <pc:spChg chg="add del mod">
          <ac:chgData name="Cyrille Scuri" userId="0ff3ad52-7312-41f1-b45c-1187e0d5d8d9" providerId="ADAL" clId="{D295DB46-1D78-470C-92CC-0D5F3AD21CF6}" dt="2022-09-07T14:03:50.600" v="2424" actId="478"/>
          <ac:spMkLst>
            <pc:docMk/>
            <pc:sldMk cId="544137720" sldId="3880"/>
            <ac:spMk id="5" creationId="{0E5C95D6-2A2C-B08B-1771-55E51DE2256E}"/>
          </ac:spMkLst>
        </pc:spChg>
        <pc:spChg chg="del">
          <ac:chgData name="Cyrille Scuri" userId="0ff3ad52-7312-41f1-b45c-1187e0d5d8d9" providerId="ADAL" clId="{D295DB46-1D78-470C-92CC-0D5F3AD21CF6}" dt="2022-09-07T14:03:47.996" v="2423" actId="478"/>
          <ac:spMkLst>
            <pc:docMk/>
            <pc:sldMk cId="544137720" sldId="3880"/>
            <ac:spMk id="9" creationId="{5D6B64C3-EDD6-7BE0-58F8-269445AA392F}"/>
          </ac:spMkLst>
        </pc:spChg>
        <pc:spChg chg="del">
          <ac:chgData name="Cyrille Scuri" userId="0ff3ad52-7312-41f1-b45c-1187e0d5d8d9" providerId="ADAL" clId="{D295DB46-1D78-470C-92CC-0D5F3AD21CF6}" dt="2022-09-07T14:03:43.251" v="2421" actId="478"/>
          <ac:spMkLst>
            <pc:docMk/>
            <pc:sldMk cId="544137720" sldId="3880"/>
            <ac:spMk id="12" creationId="{A5306304-9363-6E63-5108-07B4F2515629}"/>
          </ac:spMkLst>
        </pc:spChg>
        <pc:spChg chg="del">
          <ac:chgData name="Cyrille Scuri" userId="0ff3ad52-7312-41f1-b45c-1187e0d5d8d9" providerId="ADAL" clId="{D295DB46-1D78-470C-92CC-0D5F3AD21CF6}" dt="2022-09-07T14:03:44.950" v="2422" actId="478"/>
          <ac:spMkLst>
            <pc:docMk/>
            <pc:sldMk cId="544137720" sldId="3880"/>
            <ac:spMk id="15" creationId="{FAEFAD45-8117-559C-66C3-4A7CC4EA25D3}"/>
          </ac:spMkLst>
        </pc:spChg>
        <pc:spChg chg="del">
          <ac:chgData name="Cyrille Scuri" userId="0ff3ad52-7312-41f1-b45c-1187e0d5d8d9" providerId="ADAL" clId="{D295DB46-1D78-470C-92CC-0D5F3AD21CF6}" dt="2022-09-07T14:03:42.249" v="2420" actId="478"/>
          <ac:spMkLst>
            <pc:docMk/>
            <pc:sldMk cId="544137720" sldId="3880"/>
            <ac:spMk id="17" creationId="{1C7CEB3E-D6FF-05BF-FE68-FC49350E3625}"/>
          </ac:spMkLst>
        </pc:spChg>
      </pc:sldChg>
      <pc:sldChg chg="del">
        <pc:chgData name="Cyrille Scuri" userId="0ff3ad52-7312-41f1-b45c-1187e0d5d8d9" providerId="ADAL" clId="{D295DB46-1D78-470C-92CC-0D5F3AD21CF6}" dt="2022-09-07T14:05:41.899" v="2460" actId="47"/>
        <pc:sldMkLst>
          <pc:docMk/>
          <pc:sldMk cId="3241158271" sldId="3881"/>
        </pc:sldMkLst>
      </pc:sldChg>
      <pc:sldChg chg="del">
        <pc:chgData name="Cyrille Scuri" userId="0ff3ad52-7312-41f1-b45c-1187e0d5d8d9" providerId="ADAL" clId="{D295DB46-1D78-470C-92CC-0D5F3AD21CF6}" dt="2022-09-07T14:05:53.412" v="2462" actId="47"/>
        <pc:sldMkLst>
          <pc:docMk/>
          <pc:sldMk cId="951029180" sldId="3882"/>
        </pc:sldMkLst>
      </pc:sldChg>
      <pc:sldChg chg="del">
        <pc:chgData name="Cyrille Scuri" userId="0ff3ad52-7312-41f1-b45c-1187e0d5d8d9" providerId="ADAL" clId="{D295DB46-1D78-470C-92CC-0D5F3AD21CF6}" dt="2022-09-07T14:06:07.539" v="2464" actId="47"/>
        <pc:sldMkLst>
          <pc:docMk/>
          <pc:sldMk cId="620411577" sldId="3883"/>
        </pc:sldMkLst>
      </pc:sldChg>
      <pc:sldChg chg="del">
        <pc:chgData name="Cyrille Scuri" userId="0ff3ad52-7312-41f1-b45c-1187e0d5d8d9" providerId="ADAL" clId="{D295DB46-1D78-470C-92CC-0D5F3AD21CF6}" dt="2022-09-07T14:06:18.327" v="2466" actId="47"/>
        <pc:sldMkLst>
          <pc:docMk/>
          <pc:sldMk cId="1213590205" sldId="3884"/>
        </pc:sldMkLst>
      </pc:sldChg>
      <pc:sldChg chg="del">
        <pc:chgData name="Cyrille Scuri" userId="0ff3ad52-7312-41f1-b45c-1187e0d5d8d9" providerId="ADAL" clId="{D295DB46-1D78-470C-92CC-0D5F3AD21CF6}" dt="2022-09-07T14:06:26.185" v="2468" actId="47"/>
        <pc:sldMkLst>
          <pc:docMk/>
          <pc:sldMk cId="2162331135" sldId="3885"/>
        </pc:sldMkLst>
      </pc:sldChg>
      <pc:sldChg chg="del">
        <pc:chgData name="Cyrille Scuri" userId="0ff3ad52-7312-41f1-b45c-1187e0d5d8d9" providerId="ADAL" clId="{D295DB46-1D78-470C-92CC-0D5F3AD21CF6}" dt="2022-09-07T14:06:33.559" v="2470" actId="47"/>
        <pc:sldMkLst>
          <pc:docMk/>
          <pc:sldMk cId="3334135193" sldId="3886"/>
        </pc:sldMkLst>
      </pc:sldChg>
      <pc:sldChg chg="del">
        <pc:chgData name="Cyrille Scuri" userId="0ff3ad52-7312-41f1-b45c-1187e0d5d8d9" providerId="ADAL" clId="{D295DB46-1D78-470C-92CC-0D5F3AD21CF6}" dt="2022-09-07T14:06:38.901" v="2472" actId="47"/>
        <pc:sldMkLst>
          <pc:docMk/>
          <pc:sldMk cId="3647506643" sldId="3887"/>
        </pc:sldMkLst>
      </pc:sldChg>
      <pc:sldChg chg="del">
        <pc:chgData name="Cyrille Scuri" userId="0ff3ad52-7312-41f1-b45c-1187e0d5d8d9" providerId="ADAL" clId="{D295DB46-1D78-470C-92CC-0D5F3AD21CF6}" dt="2022-09-07T14:06:50.629" v="2474" actId="47"/>
        <pc:sldMkLst>
          <pc:docMk/>
          <pc:sldMk cId="2923689451" sldId="3888"/>
        </pc:sldMkLst>
      </pc:sldChg>
      <pc:sldChg chg="del">
        <pc:chgData name="Cyrille Scuri" userId="0ff3ad52-7312-41f1-b45c-1187e0d5d8d9" providerId="ADAL" clId="{D295DB46-1D78-470C-92CC-0D5F3AD21CF6}" dt="2022-09-07T14:07:03.306" v="2478" actId="47"/>
        <pc:sldMkLst>
          <pc:docMk/>
          <pc:sldMk cId="2518113125" sldId="3889"/>
        </pc:sldMkLst>
      </pc:sldChg>
      <pc:sldChg chg="del">
        <pc:chgData name="Cyrille Scuri" userId="0ff3ad52-7312-41f1-b45c-1187e0d5d8d9" providerId="ADAL" clId="{D295DB46-1D78-470C-92CC-0D5F3AD21CF6}" dt="2022-09-07T14:06:57.537" v="2476" actId="47"/>
        <pc:sldMkLst>
          <pc:docMk/>
          <pc:sldMk cId="3152205331" sldId="3890"/>
        </pc:sldMkLst>
      </pc:sldChg>
      <pc:sldChg chg="modSp mod modTransition">
        <pc:chgData name="Cyrille Scuri" userId="0ff3ad52-7312-41f1-b45c-1187e0d5d8d9" providerId="ADAL" clId="{D295DB46-1D78-470C-92CC-0D5F3AD21CF6}" dt="2022-09-08T14:31:10.697" v="5137" actId="404"/>
        <pc:sldMkLst>
          <pc:docMk/>
          <pc:sldMk cId="158698144" sldId="2076138255"/>
        </pc:sldMkLst>
        <pc:spChg chg="mod">
          <ac:chgData name="Cyrille Scuri" userId="0ff3ad52-7312-41f1-b45c-1187e0d5d8d9" providerId="ADAL" clId="{D295DB46-1D78-470C-92CC-0D5F3AD21CF6}" dt="2022-09-08T14:31:03.759" v="5136" actId="1036"/>
          <ac:spMkLst>
            <pc:docMk/>
            <pc:sldMk cId="158698144" sldId="2076138255"/>
            <ac:spMk id="8" creationId="{D50DB96D-FB6C-4402-9CBB-39EFDC614E86}"/>
          </ac:spMkLst>
        </pc:spChg>
        <pc:spChg chg="mod">
          <ac:chgData name="Cyrille Scuri" userId="0ff3ad52-7312-41f1-b45c-1187e0d5d8d9" providerId="ADAL" clId="{D295DB46-1D78-470C-92CC-0D5F3AD21CF6}" dt="2022-09-08T14:31:10.697" v="5137" actId="404"/>
          <ac:spMkLst>
            <pc:docMk/>
            <pc:sldMk cId="158698144" sldId="2076138255"/>
            <ac:spMk id="9" creationId="{DC19C0F0-2AAD-4B72-9BA6-88ED6DC824C9}"/>
          </ac:spMkLst>
        </pc:spChg>
        <pc:cxnChg chg="mod">
          <ac:chgData name="Cyrille Scuri" userId="0ff3ad52-7312-41f1-b45c-1187e0d5d8d9" providerId="ADAL" clId="{D295DB46-1D78-470C-92CC-0D5F3AD21CF6}" dt="2022-09-08T14:28:15.210" v="5000" actId="14100"/>
          <ac:cxnSpMkLst>
            <pc:docMk/>
            <pc:sldMk cId="158698144" sldId="2076138255"/>
            <ac:cxnSpMk id="7" creationId="{480262C8-EE43-44C5-8CF1-7055F6DF8990}"/>
          </ac:cxnSpMkLst>
        </pc:cxnChg>
      </pc:sldChg>
      <pc:sldChg chg="modSp del mod">
        <pc:chgData name="Cyrille Scuri" userId="0ff3ad52-7312-41f1-b45c-1187e0d5d8d9" providerId="ADAL" clId="{D295DB46-1D78-470C-92CC-0D5F3AD21CF6}" dt="2022-09-07T13:54:58.898" v="2411" actId="47"/>
        <pc:sldMkLst>
          <pc:docMk/>
          <pc:sldMk cId="605296940" sldId="2147374993"/>
        </pc:sldMkLst>
        <pc:spChg chg="mod">
          <ac:chgData name="Cyrille Scuri" userId="0ff3ad52-7312-41f1-b45c-1187e0d5d8d9" providerId="ADAL" clId="{D295DB46-1D78-470C-92CC-0D5F3AD21CF6}" dt="2022-09-07T13:40:01.650" v="2006" actId="20577"/>
          <ac:spMkLst>
            <pc:docMk/>
            <pc:sldMk cId="605296940" sldId="2147374993"/>
            <ac:spMk id="20" creationId="{1C6CFFA9-0A69-9D31-637F-714419DC03DD}"/>
          </ac:spMkLst>
        </pc:spChg>
        <pc:spChg chg="mod">
          <ac:chgData name="Cyrille Scuri" userId="0ff3ad52-7312-41f1-b45c-1187e0d5d8d9" providerId="ADAL" clId="{D295DB46-1D78-470C-92CC-0D5F3AD21CF6}" dt="2022-09-07T13:34:59.460" v="1967" actId="20577"/>
          <ac:spMkLst>
            <pc:docMk/>
            <pc:sldMk cId="605296940" sldId="2147374993"/>
            <ac:spMk id="22" creationId="{07D49F20-7A49-C178-58FD-47859236C5CF}"/>
          </ac:spMkLst>
        </pc:spChg>
      </pc:sldChg>
      <pc:sldChg chg="del">
        <pc:chgData name="Cyrille Scuri" userId="0ff3ad52-7312-41f1-b45c-1187e0d5d8d9" providerId="ADAL" clId="{D295DB46-1D78-470C-92CC-0D5F3AD21CF6}" dt="2022-09-06T10:00:58.905" v="161" actId="47"/>
        <pc:sldMkLst>
          <pc:docMk/>
          <pc:sldMk cId="125119581" sldId="2147469260"/>
        </pc:sldMkLst>
      </pc:sldChg>
      <pc:sldChg chg="addSp delSp modSp del mod modTransition addAnim delAnim modAnim">
        <pc:chgData name="Cyrille Scuri" userId="0ff3ad52-7312-41f1-b45c-1187e0d5d8d9" providerId="ADAL" clId="{D295DB46-1D78-470C-92CC-0D5F3AD21CF6}" dt="2022-09-08T12:32:41.593" v="3700" actId="47"/>
        <pc:sldMkLst>
          <pc:docMk/>
          <pc:sldMk cId="3464238080" sldId="2147469265"/>
        </pc:sldMkLst>
        <pc:spChg chg="add mod">
          <ac:chgData name="Cyrille Scuri" userId="0ff3ad52-7312-41f1-b45c-1187e0d5d8d9" providerId="ADAL" clId="{D295DB46-1D78-470C-92CC-0D5F3AD21CF6}" dt="2022-09-08T10:55:21.132" v="3502" actId="571"/>
          <ac:spMkLst>
            <pc:docMk/>
            <pc:sldMk cId="3464238080" sldId="2147469265"/>
            <ac:spMk id="2" creationId="{D1D45A17-283B-D5E4-6954-3778C6A24166}"/>
          </ac:spMkLst>
        </pc:spChg>
        <pc:spChg chg="add mod">
          <ac:chgData name="Cyrille Scuri" userId="0ff3ad52-7312-41f1-b45c-1187e0d5d8d9" providerId="ADAL" clId="{D295DB46-1D78-470C-92CC-0D5F3AD21CF6}" dt="2022-09-08T10:55:21.132" v="3502" actId="571"/>
          <ac:spMkLst>
            <pc:docMk/>
            <pc:sldMk cId="3464238080" sldId="2147469265"/>
            <ac:spMk id="6" creationId="{8B81BB7E-D845-30E3-CEFD-2CAF64EBBC61}"/>
          </ac:spMkLst>
        </pc:spChg>
        <pc:spChg chg="add mod">
          <ac:chgData name="Cyrille Scuri" userId="0ff3ad52-7312-41f1-b45c-1187e0d5d8d9" providerId="ADAL" clId="{D295DB46-1D78-470C-92CC-0D5F3AD21CF6}" dt="2022-09-08T10:57:36.637" v="3591" actId="1036"/>
          <ac:spMkLst>
            <pc:docMk/>
            <pc:sldMk cId="3464238080" sldId="2147469265"/>
            <ac:spMk id="7" creationId="{16F7A73D-CAD3-1336-44DA-FB2C2BAEFAFA}"/>
          </ac:spMkLst>
        </pc:spChg>
        <pc:spChg chg="add del mod">
          <ac:chgData name="Cyrille Scuri" userId="0ff3ad52-7312-41f1-b45c-1187e0d5d8d9" providerId="ADAL" clId="{D295DB46-1D78-470C-92CC-0D5F3AD21CF6}" dt="2022-09-08T10:56:53.846" v="3520" actId="20577"/>
          <ac:spMkLst>
            <pc:docMk/>
            <pc:sldMk cId="3464238080" sldId="2147469265"/>
            <ac:spMk id="8" creationId="{6EF9D717-1998-7D45-9EBE-55CF8691A10F}"/>
          </ac:spMkLst>
        </pc:spChg>
        <pc:spChg chg="mod">
          <ac:chgData name="Cyrille Scuri" userId="0ff3ad52-7312-41f1-b45c-1187e0d5d8d9" providerId="ADAL" clId="{D295DB46-1D78-470C-92CC-0D5F3AD21CF6}" dt="2022-09-08T12:25:34.531" v="3639" actId="14100"/>
          <ac:spMkLst>
            <pc:docMk/>
            <pc:sldMk cId="3464238080" sldId="2147469265"/>
            <ac:spMk id="20" creationId="{46E628D0-DFD0-9912-D8C8-FB692663E1FD}"/>
          </ac:spMkLst>
        </pc:spChg>
        <pc:picChg chg="add mod">
          <ac:chgData name="Cyrille Scuri" userId="0ff3ad52-7312-41f1-b45c-1187e0d5d8d9" providerId="ADAL" clId="{D295DB46-1D78-470C-92CC-0D5F3AD21CF6}" dt="2022-09-08T10:55:21.132" v="3502" actId="571"/>
          <ac:picMkLst>
            <pc:docMk/>
            <pc:sldMk cId="3464238080" sldId="2147469265"/>
            <ac:picMk id="3" creationId="{03199015-1449-1313-B44D-1B7030AB3963}"/>
          </ac:picMkLst>
        </pc:picChg>
        <pc:picChg chg="add mod">
          <ac:chgData name="Cyrille Scuri" userId="0ff3ad52-7312-41f1-b45c-1187e0d5d8d9" providerId="ADAL" clId="{D295DB46-1D78-470C-92CC-0D5F3AD21CF6}" dt="2022-09-08T10:55:21.132" v="3502" actId="571"/>
          <ac:picMkLst>
            <pc:docMk/>
            <pc:sldMk cId="3464238080" sldId="2147469265"/>
            <ac:picMk id="4" creationId="{FF302114-4AED-5AE1-F191-577B66084A78}"/>
          </ac:picMkLst>
        </pc:picChg>
        <pc:picChg chg="add mod">
          <ac:chgData name="Cyrille Scuri" userId="0ff3ad52-7312-41f1-b45c-1187e0d5d8d9" providerId="ADAL" clId="{D295DB46-1D78-470C-92CC-0D5F3AD21CF6}" dt="2022-09-08T10:55:21.132" v="3502" actId="571"/>
          <ac:picMkLst>
            <pc:docMk/>
            <pc:sldMk cId="3464238080" sldId="2147469265"/>
            <ac:picMk id="5" creationId="{455E99E9-10BF-14BD-D864-06A24F42F2B8}"/>
          </ac:picMkLst>
        </pc:picChg>
      </pc:sldChg>
      <pc:sldChg chg="delSp modSp mod modTransition modAnim modNotesTx">
        <pc:chgData name="Cyrille Scuri" userId="0ff3ad52-7312-41f1-b45c-1187e0d5d8d9" providerId="ADAL" clId="{D295DB46-1D78-470C-92CC-0D5F3AD21CF6}" dt="2022-09-08T12:32:04.759" v="3698" actId="478"/>
        <pc:sldMkLst>
          <pc:docMk/>
          <pc:sldMk cId="2077853568" sldId="2147469267"/>
        </pc:sldMkLst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3" creationId="{92500EFC-03E7-E8D8-62F8-DD855007CA49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13" creationId="{099AE5D9-193E-F620-153A-4AF5D288CDAA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18" creationId="{B42FBA2E-4AEE-DC6F-581D-AD55672D18C5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19" creationId="{4373FE4A-0D9F-262D-101F-E912585B8921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1" creationId="{C698F22C-0EE0-E0D7-AA90-05BCEFF31B6A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2" creationId="{0364D1B2-E703-407C-9965-08B42A8E8E5D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3" creationId="{A80486F2-A449-4473-12E1-32BB32500DF7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4" creationId="{15ED80B1-4138-43B3-BF52-F8405EAC5F3D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5" creationId="{26CF0794-8426-5D6E-A57B-8C429EC2D974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6" creationId="{31F1B025-F269-F169-E491-F0E8D6125B15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7" creationId="{81C348B1-FBA1-C3B7-269C-053AD6CD770B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8" creationId="{47A1438B-5C80-C259-2CAE-377D63EA55F7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29" creationId="{1B08C2B9-5946-E873-8591-54B3E76294B3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31" creationId="{E4CF6F43-17FA-2989-F0F2-9F9F08040108}"/>
          </ac:spMkLst>
        </pc:spChg>
        <pc:spChg chg="mod">
          <ac:chgData name="Cyrille Scuri" userId="0ff3ad52-7312-41f1-b45c-1187e0d5d8d9" providerId="ADAL" clId="{D295DB46-1D78-470C-92CC-0D5F3AD21CF6}" dt="2022-09-07T13:43:40.942" v="2369" actId="1036"/>
          <ac:spMkLst>
            <pc:docMk/>
            <pc:sldMk cId="2077853568" sldId="2147469267"/>
            <ac:spMk id="32" creationId="{0FF6CF9A-398E-D250-ABD4-584178077283}"/>
          </ac:spMkLst>
        </pc:spChg>
        <pc:spChg chg="mod">
          <ac:chgData name="Cyrille Scuri" userId="0ff3ad52-7312-41f1-b45c-1187e0d5d8d9" providerId="ADAL" clId="{D295DB46-1D78-470C-92CC-0D5F3AD21CF6}" dt="2022-09-07T13:43:40.942" v="2369" actId="1036"/>
          <ac:spMkLst>
            <pc:docMk/>
            <pc:sldMk cId="2077853568" sldId="2147469267"/>
            <ac:spMk id="33" creationId="{52563BE4-9003-06C4-8AB1-EBB68604E44C}"/>
          </ac:spMkLst>
        </pc:spChg>
        <pc:spChg chg="mod">
          <ac:chgData name="Cyrille Scuri" userId="0ff3ad52-7312-41f1-b45c-1187e0d5d8d9" providerId="ADAL" clId="{D295DB46-1D78-470C-92CC-0D5F3AD21CF6}" dt="2022-09-07T13:43:40.942" v="2369" actId="1036"/>
          <ac:spMkLst>
            <pc:docMk/>
            <pc:sldMk cId="2077853568" sldId="2147469267"/>
            <ac:spMk id="34" creationId="{8567A002-CCEB-1EA4-914F-AD2F89EA355B}"/>
          </ac:spMkLst>
        </pc:spChg>
        <pc:spChg chg="del mod">
          <ac:chgData name="Cyrille Scuri" userId="0ff3ad52-7312-41f1-b45c-1187e0d5d8d9" providerId="ADAL" clId="{D295DB46-1D78-470C-92CC-0D5F3AD21CF6}" dt="2022-09-08T12:32:04.759" v="3698" actId="478"/>
          <ac:spMkLst>
            <pc:docMk/>
            <pc:sldMk cId="2077853568" sldId="2147469267"/>
            <ac:spMk id="35" creationId="{C8A6C481-BA97-1151-1C57-26D3197EF10C}"/>
          </ac:spMkLst>
        </pc:spChg>
        <pc:spChg chg="mod">
          <ac:chgData name="Cyrille Scuri" userId="0ff3ad52-7312-41f1-b45c-1187e0d5d8d9" providerId="ADAL" clId="{D295DB46-1D78-470C-92CC-0D5F3AD21CF6}" dt="2022-09-08T12:31:13.457" v="3693" actId="113"/>
          <ac:spMkLst>
            <pc:docMk/>
            <pc:sldMk cId="2077853568" sldId="2147469267"/>
            <ac:spMk id="40" creationId="{3B2DD528-DE89-3ADD-9A28-70946CEBA60A}"/>
          </ac:spMkLst>
        </pc:spChg>
        <pc:spChg chg="mod">
          <ac:chgData name="Cyrille Scuri" userId="0ff3ad52-7312-41f1-b45c-1187e0d5d8d9" providerId="ADAL" clId="{D295DB46-1D78-470C-92CC-0D5F3AD21CF6}" dt="2022-09-08T12:31:05.691" v="3691" actId="113"/>
          <ac:spMkLst>
            <pc:docMk/>
            <pc:sldMk cId="2077853568" sldId="2147469267"/>
            <ac:spMk id="41" creationId="{23D87939-3DF3-AD18-073C-E6A69BFDA9CE}"/>
          </ac:spMkLst>
        </pc:spChg>
        <pc:spChg chg="mod">
          <ac:chgData name="Cyrille Scuri" userId="0ff3ad52-7312-41f1-b45c-1187e0d5d8d9" providerId="ADAL" clId="{D295DB46-1D78-470C-92CC-0D5F3AD21CF6}" dt="2022-09-08T12:31:09.632" v="3692" actId="113"/>
          <ac:spMkLst>
            <pc:docMk/>
            <pc:sldMk cId="2077853568" sldId="2147469267"/>
            <ac:spMk id="42" creationId="{0ED540F4-4A32-F970-ACC0-D5B4A0D36760}"/>
          </ac:spMkLst>
        </pc:spChg>
        <pc:spChg chg="mod">
          <ac:chgData name="Cyrille Scuri" userId="0ff3ad52-7312-41f1-b45c-1187e0d5d8d9" providerId="ADAL" clId="{D295DB46-1D78-470C-92CC-0D5F3AD21CF6}" dt="2022-09-07T13:43:57.630" v="2376" actId="1036"/>
          <ac:spMkLst>
            <pc:docMk/>
            <pc:sldMk cId="2077853568" sldId="2147469267"/>
            <ac:spMk id="51" creationId="{0E951746-9548-2583-592F-DCF4BEE9F9BC}"/>
          </ac:spMkLst>
        </pc:spChg>
        <pc:picChg chg="mod">
          <ac:chgData name="Cyrille Scuri" userId="0ff3ad52-7312-41f1-b45c-1187e0d5d8d9" providerId="ADAL" clId="{D295DB46-1D78-470C-92CC-0D5F3AD21CF6}" dt="2022-09-07T13:43:57.630" v="2376" actId="1036"/>
          <ac:picMkLst>
            <pc:docMk/>
            <pc:sldMk cId="2077853568" sldId="2147469267"/>
            <ac:picMk id="48" creationId="{F7C5D234-759B-F7EB-7C0E-86D70FC0AE22}"/>
          </ac:picMkLst>
        </pc:picChg>
        <pc:picChg chg="mod">
          <ac:chgData name="Cyrille Scuri" userId="0ff3ad52-7312-41f1-b45c-1187e0d5d8d9" providerId="ADAL" clId="{D295DB46-1D78-470C-92CC-0D5F3AD21CF6}" dt="2022-09-07T13:43:57.630" v="2376" actId="1036"/>
          <ac:picMkLst>
            <pc:docMk/>
            <pc:sldMk cId="2077853568" sldId="2147469267"/>
            <ac:picMk id="49" creationId="{104E9A8F-025C-A3B7-D7E2-B9581F1CB0BE}"/>
          </ac:picMkLst>
        </pc:picChg>
        <pc:picChg chg="mod">
          <ac:chgData name="Cyrille Scuri" userId="0ff3ad52-7312-41f1-b45c-1187e0d5d8d9" providerId="ADAL" clId="{D295DB46-1D78-470C-92CC-0D5F3AD21CF6}" dt="2022-09-07T13:43:57.630" v="2376" actId="1036"/>
          <ac:picMkLst>
            <pc:docMk/>
            <pc:sldMk cId="2077853568" sldId="2147469267"/>
            <ac:picMk id="50" creationId="{947426ED-910A-BEB5-3ABB-286FE8F0B440}"/>
          </ac:picMkLst>
        </pc:picChg>
        <pc:picChg chg="mod">
          <ac:chgData name="Cyrille Scuri" userId="0ff3ad52-7312-41f1-b45c-1187e0d5d8d9" providerId="ADAL" clId="{D295DB46-1D78-470C-92CC-0D5F3AD21CF6}" dt="2022-09-07T13:43:57.630" v="2376" actId="1036"/>
          <ac:picMkLst>
            <pc:docMk/>
            <pc:sldMk cId="2077853568" sldId="2147469267"/>
            <ac:picMk id="52" creationId="{76B0A9B3-8DCF-A3F8-FC78-0C866F5EA164}"/>
          </ac:picMkLst>
        </pc:picChg>
      </pc:sldChg>
      <pc:sldChg chg="modSp mod modTransition">
        <pc:chgData name="Cyrille Scuri" userId="0ff3ad52-7312-41f1-b45c-1187e0d5d8d9" providerId="ADAL" clId="{D295DB46-1D78-470C-92CC-0D5F3AD21CF6}" dt="2022-09-08T13:01:15.608" v="4761" actId="403"/>
        <pc:sldMkLst>
          <pc:docMk/>
          <pc:sldMk cId="855317441" sldId="2147469268"/>
        </pc:sldMkLst>
        <pc:spChg chg="mod">
          <ac:chgData name="Cyrille Scuri" userId="0ff3ad52-7312-41f1-b45c-1187e0d5d8d9" providerId="ADAL" clId="{D295DB46-1D78-470C-92CC-0D5F3AD21CF6}" dt="2022-09-08T12:31:49.891" v="3696" actId="1076"/>
          <ac:spMkLst>
            <pc:docMk/>
            <pc:sldMk cId="855317441" sldId="2147469268"/>
            <ac:spMk id="14" creationId="{6BA24481-2034-04F7-FC6B-2373DAA49087}"/>
          </ac:spMkLst>
        </pc:spChg>
        <pc:spChg chg="mod">
          <ac:chgData name="Cyrille Scuri" userId="0ff3ad52-7312-41f1-b45c-1187e0d5d8d9" providerId="ADAL" clId="{D295DB46-1D78-470C-92CC-0D5F3AD21CF6}" dt="2022-09-08T13:01:15.608" v="4761" actId="403"/>
          <ac:spMkLst>
            <pc:docMk/>
            <pc:sldMk cId="855317441" sldId="2147469268"/>
            <ac:spMk id="41" creationId="{4F318C15-526A-E1CF-A2A3-DF266BB9A3BC}"/>
          </ac:spMkLst>
        </pc:spChg>
      </pc:sldChg>
      <pc:sldChg chg="delSp del mod">
        <pc:chgData name="Cyrille Scuri" userId="0ff3ad52-7312-41f1-b45c-1187e0d5d8d9" providerId="ADAL" clId="{D295DB46-1D78-470C-92CC-0D5F3AD21CF6}" dt="2022-09-06T10:06:41.106" v="169" actId="47"/>
        <pc:sldMkLst>
          <pc:docMk/>
          <pc:sldMk cId="2491877017" sldId="2147469269"/>
        </pc:sldMkLst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87" creationId="{64A7B079-C54D-F3C0-DE72-6082A0251ED2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89" creationId="{347A0B42-D375-51BF-4FD6-DD45858BE0CB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90" creationId="{F50886D8-EC34-8FB4-C35F-F832CC5B4C9B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91" creationId="{23B71B65-CE00-1688-45EC-4401B3DBB535}"/>
          </ac:spMkLst>
        </pc:spChg>
        <pc:spChg chg="del">
          <ac:chgData name="Cyrille Scuri" userId="0ff3ad52-7312-41f1-b45c-1187e0d5d8d9" providerId="ADAL" clId="{D295DB46-1D78-470C-92CC-0D5F3AD21CF6}" dt="2022-09-06T10:02:26.749" v="166" actId="478"/>
          <ac:spMkLst>
            <pc:docMk/>
            <pc:sldMk cId="2491877017" sldId="2147469269"/>
            <ac:spMk id="92" creationId="{647DB194-D391-F274-66D3-0ECCB094DDFD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93" creationId="{0416EEE3-1B98-B0AC-6839-F7F2AFB64A7C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98" creationId="{A6D38A1B-5D1F-1E76-857E-D9F997805480}"/>
          </ac:spMkLst>
        </pc:spChg>
        <pc:spChg chg="del">
          <ac:chgData name="Cyrille Scuri" userId="0ff3ad52-7312-41f1-b45c-1187e0d5d8d9" providerId="ADAL" clId="{D295DB46-1D78-470C-92CC-0D5F3AD21CF6}" dt="2022-09-06T10:02:22.300" v="165" actId="478"/>
          <ac:spMkLst>
            <pc:docMk/>
            <pc:sldMk cId="2491877017" sldId="2147469269"/>
            <ac:spMk id="99" creationId="{D9647920-5CC5-6F4D-8352-AE8D8C545A32}"/>
          </ac:spMkLst>
        </pc:sp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85" creationId="{11860D6A-41E0-CC48-FC48-CF75577CD867}"/>
          </ac:picMkLst>
        </pc:pic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88" creationId="{0476D6B2-2BD4-7DC4-DCC5-02DB7572BF60}"/>
          </ac:picMkLst>
        </pc:pic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94" creationId="{1AE7520E-69EF-403A-4646-C072482DCECC}"/>
          </ac:picMkLst>
        </pc:pic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95" creationId="{FE6A7B09-594E-83B1-33CB-B24216D04DFC}"/>
          </ac:picMkLst>
        </pc:pic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96" creationId="{D2E66166-AAC8-8E61-4DFE-C63A283859EB}"/>
          </ac:picMkLst>
        </pc:picChg>
        <pc:picChg chg="del">
          <ac:chgData name="Cyrille Scuri" userId="0ff3ad52-7312-41f1-b45c-1187e0d5d8d9" providerId="ADAL" clId="{D295DB46-1D78-470C-92CC-0D5F3AD21CF6}" dt="2022-09-06T10:02:22.300" v="165" actId="478"/>
          <ac:picMkLst>
            <pc:docMk/>
            <pc:sldMk cId="2491877017" sldId="2147469269"/>
            <ac:picMk id="97" creationId="{92A27F37-A8F7-7693-ADEA-AF66E50E509B}"/>
          </ac:picMkLst>
        </pc:picChg>
      </pc:sldChg>
      <pc:sldChg chg="modSp mod modTransition">
        <pc:chgData name="Cyrille Scuri" userId="0ff3ad52-7312-41f1-b45c-1187e0d5d8d9" providerId="ADAL" clId="{D295DB46-1D78-470C-92CC-0D5F3AD21CF6}" dt="2022-09-08T12:32:18.895" v="3699" actId="1076"/>
        <pc:sldMkLst>
          <pc:docMk/>
          <pc:sldMk cId="2467390400" sldId="2147469272"/>
        </pc:sldMkLst>
        <pc:spChg chg="mod">
          <ac:chgData name="Cyrille Scuri" userId="0ff3ad52-7312-41f1-b45c-1187e0d5d8d9" providerId="ADAL" clId="{D295DB46-1D78-470C-92CC-0D5F3AD21CF6}" dt="2022-09-08T12:32:18.895" v="3699" actId="1076"/>
          <ac:spMkLst>
            <pc:docMk/>
            <pc:sldMk cId="2467390400" sldId="2147469272"/>
            <ac:spMk id="16" creationId="{A3228153-5687-266D-6C7D-3D3B6CAB31D2}"/>
          </ac:spMkLst>
        </pc:spChg>
      </pc:sldChg>
      <pc:sldChg chg="add">
        <pc:chgData name="Cyrille Scuri" userId="0ff3ad52-7312-41f1-b45c-1187e0d5d8d9" providerId="ADAL" clId="{D295DB46-1D78-470C-92CC-0D5F3AD21CF6}" dt="2022-09-07T15:31:21.272" v="2941"/>
        <pc:sldMkLst>
          <pc:docMk/>
          <pc:sldMk cId="1360018684" sldId="2147469273"/>
        </pc:sldMkLst>
      </pc:sldChg>
      <pc:sldChg chg="del">
        <pc:chgData name="Cyrille Scuri" userId="0ff3ad52-7312-41f1-b45c-1187e0d5d8d9" providerId="ADAL" clId="{D295DB46-1D78-470C-92CC-0D5F3AD21CF6}" dt="2022-09-06T09:40:35.186" v="0" actId="47"/>
        <pc:sldMkLst>
          <pc:docMk/>
          <pc:sldMk cId="1781419891" sldId="2147469273"/>
        </pc:sldMkLst>
      </pc:sldChg>
      <pc:sldChg chg="addSp delSp modSp add del mod modTransition">
        <pc:chgData name="Cyrille Scuri" userId="0ff3ad52-7312-41f1-b45c-1187e0d5d8d9" providerId="ADAL" clId="{D295DB46-1D78-470C-92CC-0D5F3AD21CF6}" dt="2022-09-07T15:31:12.860" v="2940" actId="2696"/>
        <pc:sldMkLst>
          <pc:docMk/>
          <pc:sldMk cId="3648621763" sldId="2147469273"/>
        </pc:sldMkLst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2" creationId="{1903AC34-5C83-518F-4507-E5FFF2B70FE5}"/>
          </ac:spMkLst>
        </pc:spChg>
        <pc:spChg chg="add mod">
          <ac:chgData name="Cyrille Scuri" userId="0ff3ad52-7312-41f1-b45c-1187e0d5d8d9" providerId="ADAL" clId="{D295DB46-1D78-470C-92CC-0D5F3AD21CF6}" dt="2022-09-06T10:00:44.941" v="157" actId="113"/>
          <ac:spMkLst>
            <pc:docMk/>
            <pc:sldMk cId="3648621763" sldId="2147469273"/>
            <ac:spMk id="4" creationId="{9A9AA6F7-588F-1E48-AE28-39E9D1E0FE0E}"/>
          </ac:spMkLst>
        </pc:spChg>
        <pc:spChg chg="add mod">
          <ac:chgData name="Cyrille Scuri" userId="0ff3ad52-7312-41f1-b45c-1187e0d5d8d9" providerId="ADAL" clId="{D295DB46-1D78-470C-92CC-0D5F3AD21CF6}" dt="2022-09-06T10:00:24.321" v="148" actId="403"/>
          <ac:spMkLst>
            <pc:docMk/>
            <pc:sldMk cId="3648621763" sldId="2147469273"/>
            <ac:spMk id="5" creationId="{F0EAB44C-8BA6-0051-ED19-7604319D4EB9}"/>
          </ac:spMkLst>
        </pc:spChg>
        <pc:spChg chg="add mod">
          <ac:chgData name="Cyrille Scuri" userId="0ff3ad52-7312-41f1-b45c-1187e0d5d8d9" providerId="ADAL" clId="{D295DB46-1D78-470C-92CC-0D5F3AD21CF6}" dt="2022-09-06T10:00:19.275" v="145" actId="403"/>
          <ac:spMkLst>
            <pc:docMk/>
            <pc:sldMk cId="3648621763" sldId="2147469273"/>
            <ac:spMk id="6" creationId="{560E170E-7655-6C47-4CD0-06F4A92ED175}"/>
          </ac:spMkLst>
        </pc:spChg>
        <pc:spChg chg="add mod">
          <ac:chgData name="Cyrille Scuri" userId="0ff3ad52-7312-41f1-b45c-1187e0d5d8d9" providerId="ADAL" clId="{D295DB46-1D78-470C-92CC-0D5F3AD21CF6}" dt="2022-09-06T10:00:38.166" v="154" actId="113"/>
          <ac:spMkLst>
            <pc:docMk/>
            <pc:sldMk cId="3648621763" sldId="2147469273"/>
            <ac:spMk id="7" creationId="{58433754-FFDD-94FC-CB9A-236AD3996B35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9" creationId="{4960EDDB-F8D1-F6DB-B552-3C5F854BA9A9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16" creationId="{8EC75922-816C-0BBD-8DF7-80E21D567DA6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17" creationId="{F2884A5E-248E-13A4-B927-F57ED3F1DC45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19" creationId="{FCC17758-132B-DA1C-BA98-FA1866F68ACA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21" creationId="{34F3B6BF-45E5-0AC8-6D4B-21268F864D3E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25" creationId="{64D86DC7-2D1C-9E98-0C2A-DC6570243825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26" creationId="{ACA80F25-91C7-E5F4-9916-056EE30CB1CC}"/>
          </ac:spMkLst>
        </pc:spChg>
        <pc:spChg chg="del">
          <ac:chgData name="Cyrille Scuri" userId="0ff3ad52-7312-41f1-b45c-1187e0d5d8d9" providerId="ADAL" clId="{D295DB46-1D78-470C-92CC-0D5F3AD21CF6}" dt="2022-09-06T09:58:50.370" v="101" actId="478"/>
          <ac:spMkLst>
            <pc:docMk/>
            <pc:sldMk cId="3648621763" sldId="2147469273"/>
            <ac:spMk id="42" creationId="{93BC8AC4-DDA6-5A6B-F6B7-B39A41E692DE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44" creationId="{BEFC8BA0-1566-DDAA-99EC-C0FC0F612E35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45" creationId="{00433A57-66DC-4C08-D6AC-05C0AB6F0A41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46" creationId="{6BACA7C8-D66C-CD7E-B577-180D3F550A1B}"/>
          </ac:spMkLst>
        </pc:spChg>
        <pc:spChg chg="del">
          <ac:chgData name="Cyrille Scuri" userId="0ff3ad52-7312-41f1-b45c-1187e0d5d8d9" providerId="ADAL" clId="{D295DB46-1D78-470C-92CC-0D5F3AD21CF6}" dt="2022-09-06T09:58:46.786" v="100" actId="478"/>
          <ac:spMkLst>
            <pc:docMk/>
            <pc:sldMk cId="3648621763" sldId="2147469273"/>
            <ac:spMk id="47" creationId="{4061C3E2-CA3C-BD8C-EA34-8856BCDF67F9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53" creationId="{399EC2C9-D3E8-13D5-BA9F-0D3A9C7DAAF0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60" creationId="{6E45A11F-3491-6965-0C62-7CEEF387D2A1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61" creationId="{03FFF786-7439-7B77-576D-615775E3B086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64" creationId="{85D8B6CA-D55A-0591-3546-06A54AF2D5A9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69" creationId="{BEAAC268-5C6D-0EC1-6E18-173413B0410D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70" creationId="{D9A90A99-9702-74E8-5D02-C45C8DBE9F4F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72" creationId="{1ACF3FDA-15C5-0A66-8A7E-05A45F9BF7BF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73" creationId="{76625638-1642-35A3-710D-65F0D409AA3C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74" creationId="{BC1B65AB-38ED-C872-ED03-A9B1EE9D52E8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77" creationId="{D7046298-6F8C-3333-191E-682EB2CC3EF2}"/>
          </ac:spMkLst>
        </pc:spChg>
        <pc:spChg chg="add mod">
          <ac:chgData name="Cyrille Scuri" userId="0ff3ad52-7312-41f1-b45c-1187e0d5d8d9" providerId="ADAL" clId="{D295DB46-1D78-470C-92CC-0D5F3AD21CF6}" dt="2022-09-06T10:00:29.718" v="151" actId="403"/>
          <ac:spMkLst>
            <pc:docMk/>
            <pc:sldMk cId="3648621763" sldId="2147469273"/>
            <ac:spMk id="78" creationId="{17C03D87-311F-1ED8-E55C-84B2901340B9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80" creationId="{C3D2A026-E57A-99B1-3A71-AF24BC5A20DF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82" creationId="{41D12DF9-4258-FA91-F2FF-0466690570ED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83" creationId="{41101153-1FCE-2E0C-5B15-4380C99CEA27}"/>
          </ac:spMkLst>
        </pc:spChg>
        <pc:spChg chg="add mod">
          <ac:chgData name="Cyrille Scuri" userId="0ff3ad52-7312-41f1-b45c-1187e0d5d8d9" providerId="ADAL" clId="{D295DB46-1D78-470C-92CC-0D5F3AD21CF6}" dt="2022-09-06T09:59:52.467" v="139" actId="1036"/>
          <ac:spMkLst>
            <pc:docMk/>
            <pc:sldMk cId="3648621763" sldId="2147469273"/>
            <ac:spMk id="84" creationId="{51CC5CB5-A551-C8D5-1CF0-51573D13CDDC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85" creationId="{C8324797-E410-66E7-037C-EC6D031629F3}"/>
          </ac:spMkLst>
        </pc:spChg>
        <pc:spChg chg="add mod">
          <ac:chgData name="Cyrille Scuri" userId="0ff3ad52-7312-41f1-b45c-1187e0d5d8d9" providerId="ADAL" clId="{D295DB46-1D78-470C-92CC-0D5F3AD21CF6}" dt="2022-09-06T10:00:50.346" v="160" actId="113"/>
          <ac:spMkLst>
            <pc:docMk/>
            <pc:sldMk cId="3648621763" sldId="2147469273"/>
            <ac:spMk id="90" creationId="{166DE7D2-6C7E-66BA-D2C0-BEB0971B463A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92" creationId="{20F12EB5-0F46-A9D7-167A-FCC95BFEF1C0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93" creationId="{79972A6B-08B2-363F-4A58-732159EA628A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95" creationId="{C9D22399-1B72-34D9-8441-EA5B587D9403}"/>
          </ac:spMkLst>
        </pc:spChg>
        <pc:spChg chg="add 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96" creationId="{B9C931CC-B62F-7FAF-9D88-7725E3E5B09C}"/>
          </ac:spMkLst>
        </pc:spChg>
        <pc:spChg chg="mod">
          <ac:chgData name="Cyrille Scuri" userId="0ff3ad52-7312-41f1-b45c-1187e0d5d8d9" providerId="ADAL" clId="{D295DB46-1D78-470C-92CC-0D5F3AD21CF6}" dt="2022-09-06T09:59:45.885" v="128" actId="1036"/>
          <ac:spMkLst>
            <pc:docMk/>
            <pc:sldMk cId="3648621763" sldId="2147469273"/>
            <ac:spMk id="108" creationId="{08A14FFD-3572-F6C1-5BE4-796BBE865E13}"/>
          </ac:spMkLst>
        </pc:spChg>
        <pc:grpChg chg="del">
          <ac:chgData name="Cyrille Scuri" userId="0ff3ad52-7312-41f1-b45c-1187e0d5d8d9" providerId="ADAL" clId="{D295DB46-1D78-470C-92CC-0D5F3AD21CF6}" dt="2022-09-06T09:58:46.786" v="100" actId="478"/>
          <ac:grpSpMkLst>
            <pc:docMk/>
            <pc:sldMk cId="3648621763" sldId="2147469273"/>
            <ac:grpSpMk id="10" creationId="{B4EFE0C3-0DF8-4256-0E16-EA93CD87DBD4}"/>
          </ac:grpSpMkLst>
        </pc:grpChg>
        <pc:grpChg chg="del">
          <ac:chgData name="Cyrille Scuri" userId="0ff3ad52-7312-41f1-b45c-1187e0d5d8d9" providerId="ADAL" clId="{D295DB46-1D78-470C-92CC-0D5F3AD21CF6}" dt="2022-09-06T09:58:46.786" v="100" actId="478"/>
          <ac:grpSpMkLst>
            <pc:docMk/>
            <pc:sldMk cId="3648621763" sldId="2147469273"/>
            <ac:grpSpMk id="27" creationId="{D68C42F7-A240-E0A7-ED1B-C3CD083B8601}"/>
          </ac:grpSpMkLst>
        </pc:grpChg>
        <pc:grpChg chg="add mod">
          <ac:chgData name="Cyrille Scuri" userId="0ff3ad52-7312-41f1-b45c-1187e0d5d8d9" providerId="ADAL" clId="{D295DB46-1D78-470C-92CC-0D5F3AD21CF6}" dt="2022-09-06T09:59:45.885" v="128" actId="1036"/>
          <ac:grpSpMkLst>
            <pc:docMk/>
            <pc:sldMk cId="3648621763" sldId="2147469273"/>
            <ac:grpSpMk id="107" creationId="{72F40023-1BE9-0DA3-C435-80C038B001B7}"/>
          </ac:grpSpMkLst>
        </pc:grp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3" creationId="{BBFA7843-EC24-9658-49F1-2DC81A5C3E2E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8" creationId="{F747C3A7-3DDE-E33F-75E2-6A98DDEEBBE4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18" creationId="{2EDEAD0F-4481-82FE-08A3-9FDAD633D086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20" creationId="{079F1F8F-22FB-291F-F6F6-185FCF9BCB49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22" creationId="{F536E572-A9E7-9503-313F-AF57D12F2DD6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23" creationId="{051C5111-8379-A8F4-9367-3A8F2E3A6781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24" creationId="{93D9AD56-09FB-C08F-6B70-356899080350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43" creationId="{9A4D8214-0D0D-0771-1F04-25917271D5A8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49" creationId="{A5A5BBC6-54D7-E3B1-FFE6-5E6AE7FED44A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0" creationId="{9089EA12-50E7-472F-06F4-ACB717351A4A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1" creationId="{41490B02-D6A0-B4A7-2C26-E691DC62B6E5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52" creationId="{0F3518F4-873D-3EAF-20A7-03F9F697044D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4" creationId="{EEFB1B0E-EE87-4539-AE41-EF095E19730A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5" creationId="{64F7ED7D-897A-3D71-EDCE-343BD3274908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6" creationId="{E9F25A16-8260-0D2D-6565-9B3E36A23690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7" creationId="{8A43B573-A590-6447-7B80-5C94C4107B30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8" creationId="{3DCC5BB0-1863-2AD2-7AD4-BA5319C122AA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59" creationId="{B7B6369A-B8F3-F817-7040-A23A7C2437F9}"/>
          </ac:picMkLst>
        </pc:picChg>
        <pc:picChg chg="del">
          <ac:chgData name="Cyrille Scuri" userId="0ff3ad52-7312-41f1-b45c-1187e0d5d8d9" providerId="ADAL" clId="{D295DB46-1D78-470C-92CC-0D5F3AD21CF6}" dt="2022-09-06T09:58:46.786" v="100" actId="478"/>
          <ac:picMkLst>
            <pc:docMk/>
            <pc:sldMk cId="3648621763" sldId="2147469273"/>
            <ac:picMk id="68" creationId="{23667EC5-62FD-057A-862F-E3EFBAC25E95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71" creationId="{8EA56E07-CE99-16DE-7655-2117444778E7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75" creationId="{B91C19B3-EFC8-6571-6AF1-84BEAB349D42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76" creationId="{0B48D1D5-4B7A-C244-177D-CD9D5AED62D9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79" creationId="{DC2EC45F-5570-FFB9-56D7-5C282D9F9538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81" creationId="{D829FF7D-E10C-400B-67BD-EB93F2A7B9C9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86" creationId="{FFB6C6EA-5772-9657-D8B2-DD81A5DEBFA2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87" creationId="{BD773F50-B70F-EDC2-4E03-69945BB05580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88" creationId="{FE4C18A6-77A0-C304-3375-42C25F755987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89" creationId="{138033BB-4241-F178-5D59-6A412246277F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91" creationId="{31A5CE06-EC99-6905-D616-51096FA293AB}"/>
          </ac:picMkLst>
        </pc:picChg>
        <pc:picChg chg="add 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94" creationId="{C468F49A-DDC3-E4BD-3085-7DBA0559260D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97" creationId="{7251BC75-DD5E-ED76-C204-313D8E0E0096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98" creationId="{0881B5B1-13ED-0485-F654-E642148C7180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99" creationId="{E25F75E9-3057-EC54-AB51-D4D504FC4424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0" creationId="{F6FD5FEC-A1E9-141A-F8CE-7F058743BD9D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1" creationId="{6987C63A-33F9-A6A3-085E-1F6890EBBBE3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2" creationId="{663C781C-E8D8-1BC3-626F-284F78C82441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3" creationId="{BD2B06F2-EDBE-D984-2FD0-F73D3E3BF218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4" creationId="{919C9849-AAF2-492E-D977-410BA4CFC217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5" creationId="{A02BD092-C98D-C411-D824-0329512C0E3A}"/>
          </ac:picMkLst>
        </pc:picChg>
        <pc:picChg chg="add mod">
          <ac:chgData name="Cyrille Scuri" userId="0ff3ad52-7312-41f1-b45c-1187e0d5d8d9" providerId="ADAL" clId="{D295DB46-1D78-470C-92CC-0D5F3AD21CF6}" dt="2022-09-06T09:59:52.467" v="139" actId="1036"/>
          <ac:picMkLst>
            <pc:docMk/>
            <pc:sldMk cId="3648621763" sldId="2147469273"/>
            <ac:picMk id="106" creationId="{915F3872-FA27-10E5-4CEE-90DCFC02236E}"/>
          </ac:picMkLst>
        </pc:picChg>
        <pc:picChg chg="mod">
          <ac:chgData name="Cyrille Scuri" userId="0ff3ad52-7312-41f1-b45c-1187e0d5d8d9" providerId="ADAL" clId="{D295DB46-1D78-470C-92CC-0D5F3AD21CF6}" dt="2022-09-06T09:59:45.885" v="128" actId="1036"/>
          <ac:picMkLst>
            <pc:docMk/>
            <pc:sldMk cId="3648621763" sldId="2147469273"/>
            <ac:picMk id="109" creationId="{8B7AA084-6B88-5E24-C100-348312F2C244}"/>
          </ac:picMkLst>
        </pc:picChg>
      </pc:sldChg>
      <pc:sldChg chg="modSp add del mod ord modTransition">
        <pc:chgData name="Cyrille Scuri" userId="0ff3ad52-7312-41f1-b45c-1187e0d5d8d9" providerId="ADAL" clId="{D295DB46-1D78-470C-92CC-0D5F3AD21CF6}" dt="2022-09-08T12:39:06.594" v="4311" actId="47"/>
        <pc:sldMkLst>
          <pc:docMk/>
          <pc:sldMk cId="4238079502" sldId="2147469274"/>
        </pc:sldMkLst>
        <pc:spChg chg="mod">
          <ac:chgData name="Cyrille Scuri" userId="0ff3ad52-7312-41f1-b45c-1187e0d5d8d9" providerId="ADAL" clId="{D295DB46-1D78-470C-92CC-0D5F3AD21CF6}" dt="2022-09-08T12:36:22.909" v="3807" actId="20577"/>
          <ac:spMkLst>
            <pc:docMk/>
            <pc:sldMk cId="4238079502" sldId="2147469274"/>
            <ac:spMk id="92" creationId="{647DB194-D391-F274-66D3-0ECCB094DDFD}"/>
          </ac:spMkLst>
        </pc:spChg>
      </pc:sldChg>
      <pc:sldChg chg="add del">
        <pc:chgData name="Cyrille Scuri" userId="0ff3ad52-7312-41f1-b45c-1187e0d5d8d9" providerId="ADAL" clId="{D295DB46-1D78-470C-92CC-0D5F3AD21CF6}" dt="2022-09-07T08:13:23.610" v="273" actId="47"/>
        <pc:sldMkLst>
          <pc:docMk/>
          <pc:sldMk cId="2152743803" sldId="2147469275"/>
        </pc:sldMkLst>
      </pc:sldChg>
      <pc:sldChg chg="addSp delSp modSp new mod ord modTransition">
        <pc:chgData name="Cyrille Scuri" userId="0ff3ad52-7312-41f1-b45c-1187e0d5d8d9" providerId="ADAL" clId="{D295DB46-1D78-470C-92CC-0D5F3AD21CF6}" dt="2022-09-07T15:06:23.212" v="2643"/>
        <pc:sldMkLst>
          <pc:docMk/>
          <pc:sldMk cId="3796124884" sldId="2147469275"/>
        </pc:sldMkLst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2" creationId="{CDBAD553-26B1-3FBA-BED9-BC5F47A3E886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3" creationId="{EBCFFBE8-F84A-39FD-1FBC-78AADD1CB70C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4" creationId="{EF608ED1-AD6C-DFB7-E981-43E72C3081EC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5" creationId="{0F3336C9-8AD7-33A2-5A6E-97B86FCE915E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6" creationId="{933BCF2F-B75F-CCEC-B134-BDADF22B409F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7" creationId="{E438C73D-37B1-70FC-54D2-28F7B8CC882A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8" creationId="{A27DE6C7-CDC5-3E64-3650-EE803EBFA392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9" creationId="{50F7277C-7204-316A-1298-573FDB27EA5C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10" creationId="{208B7FE6-F56D-C8AD-1DBB-FEDF958662D9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11" creationId="{6B6D203D-0F3B-86EC-EE4A-563B82BAE4D4}"/>
          </ac:spMkLst>
        </pc:spChg>
        <pc:spChg chg="del">
          <ac:chgData name="Cyrille Scuri" userId="0ff3ad52-7312-41f1-b45c-1187e0d5d8d9" providerId="ADAL" clId="{D295DB46-1D78-470C-92CC-0D5F3AD21CF6}" dt="2022-09-07T08:29:51.153" v="314" actId="478"/>
          <ac:spMkLst>
            <pc:docMk/>
            <pc:sldMk cId="3796124884" sldId="2147469275"/>
            <ac:spMk id="12" creationId="{0B5236D0-69B3-AA37-A070-749E372BB331}"/>
          </ac:spMkLst>
        </pc:spChg>
        <pc:picChg chg="add del">
          <ac:chgData name="Cyrille Scuri" userId="0ff3ad52-7312-41f1-b45c-1187e0d5d8d9" providerId="ADAL" clId="{D295DB46-1D78-470C-92CC-0D5F3AD21CF6}" dt="2022-09-07T08:31:10.757" v="339" actId="478"/>
          <ac:picMkLst>
            <pc:docMk/>
            <pc:sldMk cId="3796124884" sldId="2147469275"/>
            <ac:picMk id="13" creationId="{2FA3EED5-CAB7-6A87-C465-BE0D45B663D1}"/>
          </ac:picMkLst>
        </pc:picChg>
        <pc:picChg chg="add del mod modCrop">
          <ac:chgData name="Cyrille Scuri" userId="0ff3ad52-7312-41f1-b45c-1187e0d5d8d9" providerId="ADAL" clId="{D295DB46-1D78-470C-92CC-0D5F3AD21CF6}" dt="2022-09-07T13:16:12.918" v="836" actId="478"/>
          <ac:picMkLst>
            <pc:docMk/>
            <pc:sldMk cId="3796124884" sldId="2147469275"/>
            <ac:picMk id="15" creationId="{BA81A2D3-D50D-8987-E2AB-0352D0320406}"/>
          </ac:picMkLst>
        </pc:picChg>
        <pc:picChg chg="add mod modCrop">
          <ac:chgData name="Cyrille Scuri" userId="0ff3ad52-7312-41f1-b45c-1187e0d5d8d9" providerId="ADAL" clId="{D295DB46-1D78-470C-92CC-0D5F3AD21CF6}" dt="2022-09-07T13:18:40.767" v="872" actId="14100"/>
          <ac:picMkLst>
            <pc:docMk/>
            <pc:sldMk cId="3796124884" sldId="2147469275"/>
            <ac:picMk id="17" creationId="{7A7ACDAC-332E-8651-5978-4A760DF189C9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2:16:27.999" v="532" actId="2696"/>
        <pc:sldMkLst>
          <pc:docMk/>
          <pc:sldMk cId="3309669748" sldId="2147469276"/>
        </pc:sldMkLst>
        <pc:picChg chg="add mod">
          <ac:chgData name="Cyrille Scuri" userId="0ff3ad52-7312-41f1-b45c-1187e0d5d8d9" providerId="ADAL" clId="{D295DB46-1D78-470C-92CC-0D5F3AD21CF6}" dt="2022-09-07T11:47:00.608" v="356" actId="962"/>
          <ac:picMkLst>
            <pc:docMk/>
            <pc:sldMk cId="3309669748" sldId="2147469276"/>
            <ac:picMk id="3" creationId="{81668E22-7F2A-57EA-3CB3-2B70670AE15E}"/>
          </ac:picMkLst>
        </pc:picChg>
      </pc:sldChg>
      <pc:sldChg chg="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3992358081" sldId="2147469276"/>
        </pc:sldMkLst>
        <pc:picChg chg="mod modCrop">
          <ac:chgData name="Cyrille Scuri" userId="0ff3ad52-7312-41f1-b45c-1187e0d5d8d9" providerId="ADAL" clId="{D295DB46-1D78-470C-92CC-0D5F3AD21CF6}" dt="2022-09-07T13:20:32.570" v="1087" actId="14100"/>
          <ac:picMkLst>
            <pc:docMk/>
            <pc:sldMk cId="3992358081" sldId="2147469276"/>
            <ac:picMk id="3" creationId="{81668E22-7F2A-57EA-3CB3-2B70670AE15E}"/>
          </ac:picMkLst>
        </pc:picChg>
      </pc:sldChg>
      <pc:sldChg chg="addSp modSp add del mod ord">
        <pc:chgData name="Cyrille Scuri" userId="0ff3ad52-7312-41f1-b45c-1187e0d5d8d9" providerId="ADAL" clId="{D295DB46-1D78-470C-92CC-0D5F3AD21CF6}" dt="2022-09-07T12:16:27.999" v="532" actId="2696"/>
        <pc:sldMkLst>
          <pc:docMk/>
          <pc:sldMk cId="35640217" sldId="2147469277"/>
        </pc:sldMkLst>
        <pc:picChg chg="add mod">
          <ac:chgData name="Cyrille Scuri" userId="0ff3ad52-7312-41f1-b45c-1187e0d5d8d9" providerId="ADAL" clId="{D295DB46-1D78-470C-92CC-0D5F3AD21CF6}" dt="2022-09-07T11:49:06.817" v="361" actId="962"/>
          <ac:picMkLst>
            <pc:docMk/>
            <pc:sldMk cId="35640217" sldId="2147469277"/>
            <ac:picMk id="4" creationId="{6CEB16C3-BC9D-A829-FC3D-8B96CDFCEF20}"/>
          </ac:picMkLst>
        </pc:picChg>
      </pc:sldChg>
      <pc:sldChg chg="modSp add del mod ord modTransition">
        <pc:chgData name="Cyrille Scuri" userId="0ff3ad52-7312-41f1-b45c-1187e0d5d8d9" providerId="ADAL" clId="{D295DB46-1D78-470C-92CC-0D5F3AD21CF6}" dt="2022-09-07T15:08:52.211" v="2646" actId="47"/>
        <pc:sldMkLst>
          <pc:docMk/>
          <pc:sldMk cId="1857055462" sldId="2147469277"/>
        </pc:sldMkLst>
        <pc:picChg chg="mod modCrop">
          <ac:chgData name="Cyrille Scuri" userId="0ff3ad52-7312-41f1-b45c-1187e0d5d8d9" providerId="ADAL" clId="{D295DB46-1D78-470C-92CC-0D5F3AD21CF6}" dt="2022-09-07T13:12:38.231" v="779" actId="14100"/>
          <ac:picMkLst>
            <pc:docMk/>
            <pc:sldMk cId="1857055462" sldId="2147469277"/>
            <ac:picMk id="4" creationId="{6CEB16C3-BC9D-A829-FC3D-8B96CDFCEF20}"/>
          </ac:picMkLst>
        </pc:picChg>
      </pc:sldChg>
      <pc:sldChg chg="addSp modSp add mod ord modTransition">
        <pc:chgData name="Cyrille Scuri" userId="0ff3ad52-7312-41f1-b45c-1187e0d5d8d9" providerId="ADAL" clId="{D295DB46-1D78-470C-92CC-0D5F3AD21CF6}" dt="2022-09-07T15:06:23.212" v="2643"/>
        <pc:sldMkLst>
          <pc:docMk/>
          <pc:sldMk cId="800884334" sldId="2147469278"/>
        </pc:sldMkLst>
        <pc:picChg chg="add mod modCrop">
          <ac:chgData name="Cyrille Scuri" userId="0ff3ad52-7312-41f1-b45c-1187e0d5d8d9" providerId="ADAL" clId="{D295DB46-1D78-470C-92CC-0D5F3AD21CF6}" dt="2022-09-07T12:05:28.981" v="513" actId="14100"/>
          <ac:picMkLst>
            <pc:docMk/>
            <pc:sldMk cId="800884334" sldId="2147469278"/>
            <ac:picMk id="3" creationId="{40744844-2AE9-1903-ED8C-AB54FDDDF555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1097224860" sldId="2147469279"/>
        </pc:sldMkLst>
        <pc:picChg chg="del">
          <ac:chgData name="Cyrille Scuri" userId="0ff3ad52-7312-41f1-b45c-1187e0d5d8d9" providerId="ADAL" clId="{D295DB46-1D78-470C-92CC-0D5F3AD21CF6}" dt="2022-09-07T12:22:32.821" v="542" actId="478"/>
          <ac:picMkLst>
            <pc:docMk/>
            <pc:sldMk cId="1097224860" sldId="2147469279"/>
            <ac:picMk id="3" creationId="{DCBA82B6-4A46-5C7D-6209-38EC467B4A62}"/>
          </ac:picMkLst>
        </pc:picChg>
        <pc:picChg chg="add mod modCrop">
          <ac:chgData name="Cyrille Scuri" userId="0ff3ad52-7312-41f1-b45c-1187e0d5d8d9" providerId="ADAL" clId="{D295DB46-1D78-470C-92CC-0D5F3AD21CF6}" dt="2022-09-07T13:12:02.637" v="743" actId="14100"/>
          <ac:picMkLst>
            <pc:docMk/>
            <pc:sldMk cId="1097224860" sldId="2147469279"/>
            <ac:picMk id="4" creationId="{4EC77047-E653-3A60-5D2B-90363FE34863}"/>
          </ac:picMkLst>
        </pc:picChg>
      </pc:sldChg>
      <pc:sldChg chg="addSp add del mod">
        <pc:chgData name="Cyrille Scuri" userId="0ff3ad52-7312-41f1-b45c-1187e0d5d8d9" providerId="ADAL" clId="{D295DB46-1D78-470C-92CC-0D5F3AD21CF6}" dt="2022-09-07T12:16:27.999" v="532" actId="2696"/>
        <pc:sldMkLst>
          <pc:docMk/>
          <pc:sldMk cId="1374800455" sldId="2147469279"/>
        </pc:sldMkLst>
        <pc:picChg chg="add">
          <ac:chgData name="Cyrille Scuri" userId="0ff3ad52-7312-41f1-b45c-1187e0d5d8d9" providerId="ADAL" clId="{D295DB46-1D78-470C-92CC-0D5F3AD21CF6}" dt="2022-09-07T11:58:26.883" v="419" actId="22"/>
          <ac:picMkLst>
            <pc:docMk/>
            <pc:sldMk cId="1374800455" sldId="2147469279"/>
            <ac:picMk id="3" creationId="{DCBA82B6-4A46-5C7D-6209-38EC467B4A62}"/>
          </ac:picMkLst>
        </pc:picChg>
      </pc:sldChg>
      <pc:sldChg chg="add del">
        <pc:chgData name="Cyrille Scuri" userId="0ff3ad52-7312-41f1-b45c-1187e0d5d8d9" providerId="ADAL" clId="{D295DB46-1D78-470C-92CC-0D5F3AD21CF6}" dt="2022-09-07T12:20:22.952" v="537" actId="2696"/>
        <pc:sldMkLst>
          <pc:docMk/>
          <pc:sldMk cId="4273881150" sldId="2147469279"/>
        </pc:sldMkLst>
      </pc:sldChg>
      <pc:sldChg chg="addSp delSp modSp add mod modTransition">
        <pc:chgData name="Cyrille Scuri" userId="0ff3ad52-7312-41f1-b45c-1187e0d5d8d9" providerId="ADAL" clId="{D295DB46-1D78-470C-92CC-0D5F3AD21CF6}" dt="2022-09-08T14:06:01.161" v="4953" actId="14100"/>
        <pc:sldMkLst>
          <pc:docMk/>
          <pc:sldMk cId="2852557993" sldId="2147469280"/>
        </pc:sldMkLst>
        <pc:picChg chg="del">
          <ac:chgData name="Cyrille Scuri" userId="0ff3ad52-7312-41f1-b45c-1187e0d5d8d9" providerId="ADAL" clId="{D295DB46-1D78-470C-92CC-0D5F3AD21CF6}" dt="2022-09-08T14:01:25.494" v="4794" actId="478"/>
          <ac:picMkLst>
            <pc:docMk/>
            <pc:sldMk cId="2852557993" sldId="2147469280"/>
            <ac:picMk id="3" creationId="{939883E6-0DB3-A1F8-383D-DFAF6E203F6B}"/>
          </ac:picMkLst>
        </pc:picChg>
        <pc:picChg chg="add mod modCrop">
          <ac:chgData name="Cyrille Scuri" userId="0ff3ad52-7312-41f1-b45c-1187e0d5d8d9" providerId="ADAL" clId="{D295DB46-1D78-470C-92CC-0D5F3AD21CF6}" dt="2022-09-08T14:06:01.161" v="4953" actId="14100"/>
          <ac:picMkLst>
            <pc:docMk/>
            <pc:sldMk cId="2852557993" sldId="2147469280"/>
            <ac:picMk id="4" creationId="{539FB832-289C-DC88-CD26-1CEE6535F13F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459308670" sldId="2147469280"/>
        </pc:sldMkLst>
        <pc:picChg chg="add mod">
          <ac:chgData name="Cyrille Scuri" userId="0ff3ad52-7312-41f1-b45c-1187e0d5d8d9" providerId="ADAL" clId="{D295DB46-1D78-470C-92CC-0D5F3AD21CF6}" dt="2022-09-07T13:23:24.467" v="1474" actId="14100"/>
          <ac:picMkLst>
            <pc:docMk/>
            <pc:sldMk cId="3459308670" sldId="2147469280"/>
            <ac:picMk id="3" creationId="{939883E6-0DB3-A1F8-383D-DFAF6E203F6B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29082024" sldId="2147469281"/>
        </pc:sldMkLst>
        <pc:picChg chg="add mod">
          <ac:chgData name="Cyrille Scuri" userId="0ff3ad52-7312-41f1-b45c-1187e0d5d8d9" providerId="ADAL" clId="{D295DB46-1D78-470C-92CC-0D5F3AD21CF6}" dt="2022-09-07T13:23:34.458" v="1491" actId="14100"/>
          <ac:picMkLst>
            <pc:docMk/>
            <pc:sldMk cId="229082024" sldId="2147469281"/>
            <ac:picMk id="3" creationId="{18CC478A-AFB0-3002-A1C6-5F90A7802813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8T14:06:45.631" v="4988" actId="14100"/>
        <pc:sldMkLst>
          <pc:docMk/>
          <pc:sldMk cId="340496946" sldId="2147469281"/>
        </pc:sldMkLst>
        <pc:picChg chg="del">
          <ac:chgData name="Cyrille Scuri" userId="0ff3ad52-7312-41f1-b45c-1187e0d5d8d9" providerId="ADAL" clId="{D295DB46-1D78-470C-92CC-0D5F3AD21CF6}" dt="2022-09-08T14:01:22.634" v="4793" actId="478"/>
          <ac:picMkLst>
            <pc:docMk/>
            <pc:sldMk cId="340496946" sldId="2147469281"/>
            <ac:picMk id="3" creationId="{18CC478A-AFB0-3002-A1C6-5F90A7802813}"/>
          </ac:picMkLst>
        </pc:picChg>
        <pc:picChg chg="add mod modCrop">
          <ac:chgData name="Cyrille Scuri" userId="0ff3ad52-7312-41f1-b45c-1187e0d5d8d9" providerId="ADAL" clId="{D295DB46-1D78-470C-92CC-0D5F3AD21CF6}" dt="2022-09-08T14:06:45.631" v="4988" actId="14100"/>
          <ac:picMkLst>
            <pc:docMk/>
            <pc:sldMk cId="340496946" sldId="2147469281"/>
            <ac:picMk id="4" creationId="{49383D1A-E229-359F-DC9E-E0AC35BC0ED2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3:00:23.657" v="639" actId="47"/>
        <pc:sldMkLst>
          <pc:docMk/>
          <pc:sldMk cId="1026622998" sldId="2147469282"/>
        </pc:sldMkLst>
        <pc:picChg chg="add mod">
          <ac:chgData name="Cyrille Scuri" userId="0ff3ad52-7312-41f1-b45c-1187e0d5d8d9" providerId="ADAL" clId="{D295DB46-1D78-470C-92CC-0D5F3AD21CF6}" dt="2022-09-07T12:52:28.154" v="594" actId="962"/>
          <ac:picMkLst>
            <pc:docMk/>
            <pc:sldMk cId="1026622998" sldId="2147469282"/>
            <ac:picMk id="3" creationId="{15C3E32A-ACF3-90D4-4005-D7AF6D0ECC20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945061700" sldId="2147469283"/>
        </pc:sldMkLst>
        <pc:picChg chg="add mod">
          <ac:chgData name="Cyrille Scuri" userId="0ff3ad52-7312-41f1-b45c-1187e0d5d8d9" providerId="ADAL" clId="{D295DB46-1D78-470C-92CC-0D5F3AD21CF6}" dt="2022-09-07T13:23:43.590" v="1508" actId="14100"/>
          <ac:picMkLst>
            <pc:docMk/>
            <pc:sldMk cId="945061700" sldId="2147469283"/>
            <ac:picMk id="3" creationId="{7BC96E97-70A2-10B9-AE8B-E96DA0482F68}"/>
          </ac:picMkLst>
        </pc:picChg>
      </pc:sldChg>
      <pc:sldChg chg="add del modTransition">
        <pc:chgData name="Cyrille Scuri" userId="0ff3ad52-7312-41f1-b45c-1187e0d5d8d9" providerId="ADAL" clId="{D295DB46-1D78-470C-92CC-0D5F3AD21CF6}" dt="2022-09-08T14:01:29.521" v="4796" actId="47"/>
        <pc:sldMkLst>
          <pc:docMk/>
          <pc:sldMk cId="3496600056" sldId="2147469283"/>
        </pc:sldMkLst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857580911" sldId="2147469284"/>
        </pc:sldMkLst>
      </pc:sldChg>
      <pc:sldChg chg="addSp del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234474015" sldId="2147469284"/>
        </pc:sldMkLst>
        <pc:picChg chg="add del mod modCrop">
          <ac:chgData name="Cyrille Scuri" userId="0ff3ad52-7312-41f1-b45c-1187e0d5d8d9" providerId="ADAL" clId="{D295DB46-1D78-470C-92CC-0D5F3AD21CF6}" dt="2022-09-07T13:27:12.485" v="1556" actId="478"/>
          <ac:picMkLst>
            <pc:docMk/>
            <pc:sldMk cId="2234474015" sldId="2147469284"/>
            <ac:picMk id="3" creationId="{8B3E3CCA-8DC3-BD47-4432-C28AAE35490F}"/>
          </ac:picMkLst>
        </pc:picChg>
        <pc:picChg chg="add mod modCrop">
          <ac:chgData name="Cyrille Scuri" userId="0ff3ad52-7312-41f1-b45c-1187e0d5d8d9" providerId="ADAL" clId="{D295DB46-1D78-470C-92CC-0D5F3AD21CF6}" dt="2022-09-07T13:27:47.813" v="1607" actId="14100"/>
          <ac:picMkLst>
            <pc:docMk/>
            <pc:sldMk cId="2234474015" sldId="2147469284"/>
            <ac:picMk id="5" creationId="{680011F9-AA88-D9D2-7A00-E64C87EC1D4A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319680470" sldId="2147469285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636591443" sldId="2147469285"/>
        </pc:sldMkLst>
        <pc:picChg chg="add mod modCrop">
          <ac:chgData name="Cyrille Scuri" userId="0ff3ad52-7312-41f1-b45c-1187e0d5d8d9" providerId="ADAL" clId="{D295DB46-1D78-470C-92CC-0D5F3AD21CF6}" dt="2022-09-07T13:28:03.815" v="1639" actId="14100"/>
          <ac:picMkLst>
            <pc:docMk/>
            <pc:sldMk cId="3636591443" sldId="2147469285"/>
            <ac:picMk id="3" creationId="{526B962E-91FC-3ECD-363F-3DB1A2B20D52}"/>
          </ac:picMkLst>
        </pc:picChg>
      </pc:sldChg>
      <pc:sldChg chg="addSp del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92589665" sldId="2147469286"/>
        </pc:sldMkLst>
        <pc:picChg chg="add del mod modCrop">
          <ac:chgData name="Cyrille Scuri" userId="0ff3ad52-7312-41f1-b45c-1187e0d5d8d9" providerId="ADAL" clId="{D295DB46-1D78-470C-92CC-0D5F3AD21CF6}" dt="2022-09-07T13:28:17.757" v="1640" actId="478"/>
          <ac:picMkLst>
            <pc:docMk/>
            <pc:sldMk cId="92589665" sldId="2147469286"/>
            <ac:picMk id="3" creationId="{F0B0C557-3E15-4220-9BFE-86187988AFDE}"/>
          </ac:picMkLst>
        </pc:picChg>
        <pc:picChg chg="add mod modCrop">
          <ac:chgData name="Cyrille Scuri" userId="0ff3ad52-7312-41f1-b45c-1187e0d5d8d9" providerId="ADAL" clId="{D295DB46-1D78-470C-92CC-0D5F3AD21CF6}" dt="2022-09-07T13:30:05.248" v="1709" actId="14100"/>
          <ac:picMkLst>
            <pc:docMk/>
            <pc:sldMk cId="92589665" sldId="2147469286"/>
            <ac:picMk id="5" creationId="{BD22E0C5-41D6-42C3-4495-2CF4EB22AB06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547995507" sldId="2147469286"/>
        </pc:sldMkLst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023589907" sldId="2147469287"/>
        </pc:sldMkLst>
      </pc:sldChg>
      <pc:sldChg chg="addSp del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4166044941" sldId="2147469287"/>
        </pc:sldMkLst>
        <pc:picChg chg="add del mod modCrop">
          <ac:chgData name="Cyrille Scuri" userId="0ff3ad52-7312-41f1-b45c-1187e0d5d8d9" providerId="ADAL" clId="{D295DB46-1D78-470C-92CC-0D5F3AD21CF6}" dt="2022-09-07T13:30:51.065" v="1766" actId="478"/>
          <ac:picMkLst>
            <pc:docMk/>
            <pc:sldMk cId="4166044941" sldId="2147469287"/>
            <ac:picMk id="3" creationId="{CF873654-59F7-8D74-DE8B-7ED186641710}"/>
          </ac:picMkLst>
        </pc:picChg>
        <pc:picChg chg="add mod modCrop">
          <ac:chgData name="Cyrille Scuri" userId="0ff3ad52-7312-41f1-b45c-1187e0d5d8d9" providerId="ADAL" clId="{D295DB46-1D78-470C-92CC-0D5F3AD21CF6}" dt="2022-09-07T13:32:03.826" v="1810" actId="14100"/>
          <ac:picMkLst>
            <pc:docMk/>
            <pc:sldMk cId="4166044941" sldId="2147469287"/>
            <ac:picMk id="5" creationId="{7AAC622C-E79E-B2A6-3D56-658BA1ED6814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227258549" sldId="2147469288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195880039" sldId="2147469288"/>
        </pc:sldMkLst>
        <pc:picChg chg="add mod">
          <ac:chgData name="Cyrille Scuri" userId="0ff3ad52-7312-41f1-b45c-1187e0d5d8d9" providerId="ADAL" clId="{D295DB46-1D78-470C-92CC-0D5F3AD21CF6}" dt="2022-09-07T13:32:36.560" v="1847" actId="14100"/>
          <ac:picMkLst>
            <pc:docMk/>
            <pc:sldMk cId="3195880039" sldId="2147469288"/>
            <ac:picMk id="3" creationId="{9E77FA7C-D617-F39B-F85B-9C07AB9B022F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537529044" sldId="2147469289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362186184" sldId="2147469289"/>
        </pc:sldMkLst>
        <pc:picChg chg="add mod">
          <ac:chgData name="Cyrille Scuri" userId="0ff3ad52-7312-41f1-b45c-1187e0d5d8d9" providerId="ADAL" clId="{D295DB46-1D78-470C-92CC-0D5F3AD21CF6}" dt="2022-09-07T13:32:43.509" v="1862" actId="14100"/>
          <ac:picMkLst>
            <pc:docMk/>
            <pc:sldMk cId="3362186184" sldId="2147469289"/>
            <ac:picMk id="3" creationId="{FB89A673-DBE6-11CC-F589-F1AD12D78B93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770025496" sldId="2147469290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549736468" sldId="2147469290"/>
        </pc:sldMkLst>
        <pc:picChg chg="add mod modCrop">
          <ac:chgData name="Cyrille Scuri" userId="0ff3ad52-7312-41f1-b45c-1187e0d5d8d9" providerId="ADAL" clId="{D295DB46-1D78-470C-92CC-0D5F3AD21CF6}" dt="2022-09-07T13:32:56.391" v="1893" actId="14100"/>
          <ac:picMkLst>
            <pc:docMk/>
            <pc:sldMk cId="2549736468" sldId="2147469290"/>
            <ac:picMk id="3" creationId="{C151335E-A284-93A8-BD77-E52580679FF5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174823389" sldId="2147469291"/>
        </pc:sldMkLst>
        <pc:picChg chg="add mod modCrop">
          <ac:chgData name="Cyrille Scuri" userId="0ff3ad52-7312-41f1-b45c-1187e0d5d8d9" providerId="ADAL" clId="{D295DB46-1D78-470C-92CC-0D5F3AD21CF6}" dt="2022-09-07T13:33:09.025" v="1939" actId="14100"/>
          <ac:picMkLst>
            <pc:docMk/>
            <pc:sldMk cId="3174823389" sldId="2147469291"/>
            <ac:picMk id="3" creationId="{C2FA38A4-206C-E894-CF6E-37F1836E8357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3588943127" sldId="2147469291"/>
        </pc:sldMkLst>
      </pc:sldChg>
      <pc:sldChg chg="add del">
        <pc:chgData name="Cyrille Scuri" userId="0ff3ad52-7312-41f1-b45c-1187e0d5d8d9" providerId="ADAL" clId="{D295DB46-1D78-470C-92CC-0D5F3AD21CF6}" dt="2022-09-07T13:55:21.530" v="2413" actId="47"/>
        <pc:sldMkLst>
          <pc:docMk/>
          <pc:sldMk cId="304264756" sldId="2147469292"/>
        </pc:sldMkLst>
      </pc:sldChg>
      <pc:sldChg chg="add del">
        <pc:chgData name="Cyrille Scuri" userId="0ff3ad52-7312-41f1-b45c-1187e0d5d8d9" providerId="ADAL" clId="{D295DB46-1D78-470C-92CC-0D5F3AD21CF6}" dt="2022-09-07T13:55:21.790" v="2414" actId="47"/>
        <pc:sldMkLst>
          <pc:docMk/>
          <pc:sldMk cId="1031820453" sldId="2147469293"/>
        </pc:sldMkLst>
      </pc:sldChg>
      <pc:sldChg chg="add del">
        <pc:chgData name="Cyrille Scuri" userId="0ff3ad52-7312-41f1-b45c-1187e0d5d8d9" providerId="ADAL" clId="{D295DB46-1D78-470C-92CC-0D5F3AD21CF6}" dt="2022-09-07T13:55:21.992" v="2415" actId="47"/>
        <pc:sldMkLst>
          <pc:docMk/>
          <pc:sldMk cId="2773484961" sldId="2147469294"/>
        </pc:sldMkLst>
      </pc:sldChg>
      <pc:sldChg chg="add del">
        <pc:chgData name="Cyrille Scuri" userId="0ff3ad52-7312-41f1-b45c-1187e0d5d8d9" providerId="ADAL" clId="{D295DB46-1D78-470C-92CC-0D5F3AD21CF6}" dt="2022-09-07T13:55:22.605" v="2416" actId="47"/>
        <pc:sldMkLst>
          <pc:docMk/>
          <pc:sldMk cId="141234085" sldId="2147469295"/>
        </pc:sldMkLst>
      </pc:sldChg>
      <pc:sldChg chg="add del">
        <pc:chgData name="Cyrille Scuri" userId="0ff3ad52-7312-41f1-b45c-1187e0d5d8d9" providerId="ADAL" clId="{D295DB46-1D78-470C-92CC-0D5F3AD21CF6}" dt="2022-09-07T15:02:21.477" v="2564" actId="47"/>
        <pc:sldMkLst>
          <pc:docMk/>
          <pc:sldMk cId="2220431562" sldId="2147469296"/>
        </pc:sldMkLst>
      </pc:sldChg>
      <pc:sldChg chg="add del">
        <pc:chgData name="Cyrille Scuri" userId="0ff3ad52-7312-41f1-b45c-1187e0d5d8d9" providerId="ADAL" clId="{D295DB46-1D78-470C-92CC-0D5F3AD21CF6}" dt="2022-09-07T15:02:24.559" v="2568" actId="47"/>
        <pc:sldMkLst>
          <pc:docMk/>
          <pc:sldMk cId="35610082" sldId="2147469297"/>
        </pc:sldMkLst>
      </pc:sldChg>
      <pc:sldChg chg="addSp modSp add del mod">
        <pc:chgData name="Cyrille Scuri" userId="0ff3ad52-7312-41f1-b45c-1187e0d5d8d9" providerId="ADAL" clId="{D295DB46-1D78-470C-92CC-0D5F3AD21CF6}" dt="2022-09-07T12:03:31.147" v="451" actId="47"/>
        <pc:sldMkLst>
          <pc:docMk/>
          <pc:sldMk cId="3208199778" sldId="2147469298"/>
        </pc:sldMkLst>
        <pc:picChg chg="add mod">
          <ac:chgData name="Cyrille Scuri" userId="0ff3ad52-7312-41f1-b45c-1187e0d5d8d9" providerId="ADAL" clId="{D295DB46-1D78-470C-92CC-0D5F3AD21CF6}" dt="2022-09-07T11:46:53.717" v="353" actId="962"/>
          <ac:picMkLst>
            <pc:docMk/>
            <pc:sldMk cId="3208199778" sldId="2147469298"/>
            <ac:picMk id="3" creationId="{E9929D26-FBBC-BCC7-1E1B-051A386BB79C}"/>
          </ac:picMkLst>
        </pc:picChg>
      </pc:sldChg>
      <pc:sldChg chg="new del">
        <pc:chgData name="Cyrille Scuri" userId="0ff3ad52-7312-41f1-b45c-1187e0d5d8d9" providerId="ADAL" clId="{D295DB46-1D78-470C-92CC-0D5F3AD21CF6}" dt="2022-09-07T11:42:55.441" v="344" actId="47"/>
        <pc:sldMkLst>
          <pc:docMk/>
          <pc:sldMk cId="2336911631" sldId="2147469299"/>
        </pc:sldMkLst>
      </pc:sldChg>
      <pc:sldChg chg="add del">
        <pc:chgData name="Cyrille Scuri" userId="0ff3ad52-7312-41f1-b45c-1187e0d5d8d9" providerId="ADAL" clId="{D295DB46-1D78-470C-92CC-0D5F3AD21CF6}" dt="2022-09-07T11:57:23.608" v="380" actId="47"/>
        <pc:sldMkLst>
          <pc:docMk/>
          <pc:sldMk cId="4007899172" sldId="2147469299"/>
        </pc:sldMkLst>
      </pc:sldChg>
      <pc:sldChg chg="add del">
        <pc:chgData name="Cyrille Scuri" userId="0ff3ad52-7312-41f1-b45c-1187e0d5d8d9" providerId="ADAL" clId="{D295DB46-1D78-470C-92CC-0D5F3AD21CF6}" dt="2022-09-07T11:57:23.818" v="381" actId="47"/>
        <pc:sldMkLst>
          <pc:docMk/>
          <pc:sldMk cId="3052491103" sldId="2147469300"/>
        </pc:sldMkLst>
      </pc:sldChg>
      <pc:sldChg chg="add del">
        <pc:chgData name="Cyrille Scuri" userId="0ff3ad52-7312-41f1-b45c-1187e0d5d8d9" providerId="ADAL" clId="{D295DB46-1D78-470C-92CC-0D5F3AD21CF6}" dt="2022-09-07T11:57:24.036" v="382" actId="47"/>
        <pc:sldMkLst>
          <pc:docMk/>
          <pc:sldMk cId="213832531" sldId="2147469301"/>
        </pc:sldMkLst>
      </pc:sldChg>
      <pc:sldChg chg="add del">
        <pc:chgData name="Cyrille Scuri" userId="0ff3ad52-7312-41f1-b45c-1187e0d5d8d9" providerId="ADAL" clId="{D295DB46-1D78-470C-92CC-0D5F3AD21CF6}" dt="2022-09-07T11:57:24.218" v="383" actId="47"/>
        <pc:sldMkLst>
          <pc:docMk/>
          <pc:sldMk cId="2595708363" sldId="2147469302"/>
        </pc:sldMkLst>
      </pc:sldChg>
      <pc:sldChg chg="add del">
        <pc:chgData name="Cyrille Scuri" userId="0ff3ad52-7312-41f1-b45c-1187e0d5d8d9" providerId="ADAL" clId="{D295DB46-1D78-470C-92CC-0D5F3AD21CF6}" dt="2022-09-07T11:57:24.386" v="384" actId="47"/>
        <pc:sldMkLst>
          <pc:docMk/>
          <pc:sldMk cId="847743095" sldId="2147469303"/>
        </pc:sldMkLst>
      </pc:sldChg>
      <pc:sldChg chg="add del">
        <pc:chgData name="Cyrille Scuri" userId="0ff3ad52-7312-41f1-b45c-1187e0d5d8d9" providerId="ADAL" clId="{D295DB46-1D78-470C-92CC-0D5F3AD21CF6}" dt="2022-09-07T11:57:24.518" v="385" actId="47"/>
        <pc:sldMkLst>
          <pc:docMk/>
          <pc:sldMk cId="3514105765" sldId="2147469304"/>
        </pc:sldMkLst>
      </pc:sldChg>
      <pc:sldChg chg="addSp delSp 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3232918154" sldId="2147469305"/>
        </pc:sldMkLst>
        <pc:picChg chg="del">
          <ac:chgData name="Cyrille Scuri" userId="0ff3ad52-7312-41f1-b45c-1187e0d5d8d9" providerId="ADAL" clId="{D295DB46-1D78-470C-92CC-0D5F3AD21CF6}" dt="2022-09-07T11:57:27.338" v="386" actId="478"/>
          <ac:picMkLst>
            <pc:docMk/>
            <pc:sldMk cId="3232918154" sldId="2147469305"/>
            <ac:picMk id="3" creationId="{E9929D26-FBBC-BCC7-1E1B-051A386BB79C}"/>
          </ac:picMkLst>
        </pc:picChg>
        <pc:picChg chg="add mod modCrop">
          <ac:chgData name="Cyrille Scuri" userId="0ff3ad52-7312-41f1-b45c-1187e0d5d8d9" providerId="ADAL" clId="{D295DB46-1D78-470C-92CC-0D5F3AD21CF6}" dt="2022-09-07T12:04:53.385" v="461" actId="14100"/>
          <ac:picMkLst>
            <pc:docMk/>
            <pc:sldMk cId="3232918154" sldId="2147469305"/>
            <ac:picMk id="4" creationId="{22AE7B46-BF5C-49E7-E720-40121DD30D8E}"/>
          </ac:picMkLst>
        </pc:picChg>
      </pc:sldChg>
      <pc:sldChg chg="delSp add del mod">
        <pc:chgData name="Cyrille Scuri" userId="0ff3ad52-7312-41f1-b45c-1187e0d5d8d9" providerId="ADAL" clId="{D295DB46-1D78-470C-92CC-0D5F3AD21CF6}" dt="2022-09-07T12:16:36.678" v="534" actId="47"/>
        <pc:sldMkLst>
          <pc:docMk/>
          <pc:sldMk cId="1380881265" sldId="2147469306"/>
        </pc:sldMkLst>
        <pc:picChg chg="del">
          <ac:chgData name="Cyrille Scuri" userId="0ff3ad52-7312-41f1-b45c-1187e0d5d8d9" providerId="ADAL" clId="{D295DB46-1D78-470C-92CC-0D5F3AD21CF6}" dt="2022-09-07T11:57:29.072" v="387" actId="478"/>
          <ac:picMkLst>
            <pc:docMk/>
            <pc:sldMk cId="1380881265" sldId="2147469306"/>
            <ac:picMk id="3" creationId="{E9929D26-FBBC-BCC7-1E1B-051A386BB79C}"/>
          </ac:picMkLst>
        </pc:picChg>
      </pc:sldChg>
      <pc:sldChg chg="delSp add del mod">
        <pc:chgData name="Cyrille Scuri" userId="0ff3ad52-7312-41f1-b45c-1187e0d5d8d9" providerId="ADAL" clId="{D295DB46-1D78-470C-92CC-0D5F3AD21CF6}" dt="2022-09-07T12:16:37.265" v="535" actId="47"/>
        <pc:sldMkLst>
          <pc:docMk/>
          <pc:sldMk cId="1601089627" sldId="2147469307"/>
        </pc:sldMkLst>
        <pc:picChg chg="del">
          <ac:chgData name="Cyrille Scuri" userId="0ff3ad52-7312-41f1-b45c-1187e0d5d8d9" providerId="ADAL" clId="{D295DB46-1D78-470C-92CC-0D5F3AD21CF6}" dt="2022-09-07T11:57:30.235" v="388" actId="478"/>
          <ac:picMkLst>
            <pc:docMk/>
            <pc:sldMk cId="1601089627" sldId="2147469307"/>
            <ac:picMk id="3" creationId="{E9929D26-FBBC-BCC7-1E1B-051A386BB79C}"/>
          </ac:picMkLst>
        </pc:picChg>
      </pc:sldChg>
      <pc:sldChg chg="add del">
        <pc:chgData name="Cyrille Scuri" userId="0ff3ad52-7312-41f1-b45c-1187e0d5d8d9" providerId="ADAL" clId="{D295DB46-1D78-470C-92CC-0D5F3AD21CF6}" dt="2022-09-07T11:57:31.436" v="389" actId="47"/>
        <pc:sldMkLst>
          <pc:docMk/>
          <pc:sldMk cId="2936184174" sldId="2147469308"/>
        </pc:sldMkLst>
      </pc:sldChg>
      <pc:sldChg chg="addSp 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3894584078" sldId="2147469308"/>
        </pc:sldMkLst>
        <pc:picChg chg="add mod modCrop">
          <ac:chgData name="Cyrille Scuri" userId="0ff3ad52-7312-41f1-b45c-1187e0d5d8d9" providerId="ADAL" clId="{D295DB46-1D78-470C-92CC-0D5F3AD21CF6}" dt="2022-09-07T13:14:34.770" v="835" actId="14100"/>
          <ac:picMkLst>
            <pc:docMk/>
            <pc:sldMk cId="3894584078" sldId="2147469308"/>
            <ac:picMk id="3" creationId="{C02B8B9E-F19A-C056-C82F-B8C2C48AE6C9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7T15:15:33.011" v="2697" actId="14100"/>
        <pc:sldMkLst>
          <pc:docMk/>
          <pc:sldMk cId="1426989273" sldId="2147469309"/>
        </pc:sldMkLst>
        <pc:picChg chg="add del mod modCrop">
          <ac:chgData name="Cyrille Scuri" userId="0ff3ad52-7312-41f1-b45c-1187e0d5d8d9" providerId="ADAL" clId="{D295DB46-1D78-470C-92CC-0D5F3AD21CF6}" dt="2022-09-07T15:14:59.086" v="2668" actId="478"/>
          <ac:picMkLst>
            <pc:docMk/>
            <pc:sldMk cId="1426989273" sldId="2147469309"/>
            <ac:picMk id="3" creationId="{912E897E-7165-90B5-8A11-6E175E1EEE65}"/>
          </ac:picMkLst>
        </pc:picChg>
        <pc:picChg chg="add mod modCrop">
          <ac:chgData name="Cyrille Scuri" userId="0ff3ad52-7312-41f1-b45c-1187e0d5d8d9" providerId="ADAL" clId="{D295DB46-1D78-470C-92CC-0D5F3AD21CF6}" dt="2022-09-07T15:15:33.011" v="2697" actId="14100"/>
          <ac:picMkLst>
            <pc:docMk/>
            <pc:sldMk cId="1426989273" sldId="2147469309"/>
            <ac:picMk id="5" creationId="{4DCAC6E0-0075-11F3-4726-B818817A502D}"/>
          </ac:picMkLst>
        </pc:picChg>
      </pc:sldChg>
      <pc:sldChg chg="add del">
        <pc:chgData name="Cyrille Scuri" userId="0ff3ad52-7312-41f1-b45c-1187e0d5d8d9" providerId="ADAL" clId="{D295DB46-1D78-470C-92CC-0D5F3AD21CF6}" dt="2022-09-07T11:57:31.971" v="390" actId="47"/>
        <pc:sldMkLst>
          <pc:docMk/>
          <pc:sldMk cId="2617291121" sldId="2147469309"/>
        </pc:sldMkLst>
      </pc:sldChg>
      <pc:sldChg chg="addSp modSp add del mod">
        <pc:chgData name="Cyrille Scuri" userId="0ff3ad52-7312-41f1-b45c-1187e0d5d8d9" providerId="ADAL" clId="{D295DB46-1D78-470C-92CC-0D5F3AD21CF6}" dt="2022-09-07T12:11:39.301" v="514" actId="47"/>
        <pc:sldMkLst>
          <pc:docMk/>
          <pc:sldMk cId="1660144334" sldId="2147469310"/>
        </pc:sldMkLst>
        <pc:picChg chg="add mod">
          <ac:chgData name="Cyrille Scuri" userId="0ff3ad52-7312-41f1-b45c-1187e0d5d8d9" providerId="ADAL" clId="{D295DB46-1D78-470C-92CC-0D5F3AD21CF6}" dt="2022-09-07T12:00:10.481" v="431" actId="27614"/>
          <ac:picMkLst>
            <pc:docMk/>
            <pc:sldMk cId="1660144334" sldId="2147469310"/>
            <ac:picMk id="3" creationId="{F09BDB05-F756-985D-F693-324AF560D253}"/>
          </ac:picMkLst>
        </pc:picChg>
      </pc:sldChg>
      <pc:sldChg chg="add del">
        <pc:chgData name="Cyrille Scuri" userId="0ff3ad52-7312-41f1-b45c-1187e0d5d8d9" providerId="ADAL" clId="{D295DB46-1D78-470C-92CC-0D5F3AD21CF6}" dt="2022-09-07T11:57:32.439" v="391" actId="47"/>
        <pc:sldMkLst>
          <pc:docMk/>
          <pc:sldMk cId="1784976936" sldId="2147469310"/>
        </pc:sldMkLst>
      </pc:sldChg>
      <pc:sldChg chg="addSp modSp add del mod">
        <pc:chgData name="Cyrille Scuri" userId="0ff3ad52-7312-41f1-b45c-1187e0d5d8d9" providerId="ADAL" clId="{D295DB46-1D78-470C-92CC-0D5F3AD21CF6}" dt="2022-09-07T12:11:40.156" v="515" actId="47"/>
        <pc:sldMkLst>
          <pc:docMk/>
          <pc:sldMk cId="1973443359" sldId="2147469311"/>
        </pc:sldMkLst>
        <pc:picChg chg="add mod">
          <ac:chgData name="Cyrille Scuri" userId="0ff3ad52-7312-41f1-b45c-1187e0d5d8d9" providerId="ADAL" clId="{D295DB46-1D78-470C-92CC-0D5F3AD21CF6}" dt="2022-09-07T12:00:14.489" v="433" actId="27614"/>
          <ac:picMkLst>
            <pc:docMk/>
            <pc:sldMk cId="1973443359" sldId="2147469311"/>
            <ac:picMk id="3" creationId="{A2738B44-47BD-65AB-8C6A-94BBFFFDCDE0}"/>
          </ac:picMkLst>
        </pc:picChg>
      </pc:sldChg>
      <pc:sldChg chg="add del">
        <pc:chgData name="Cyrille Scuri" userId="0ff3ad52-7312-41f1-b45c-1187e0d5d8d9" providerId="ADAL" clId="{D295DB46-1D78-470C-92CC-0D5F3AD21CF6}" dt="2022-09-07T11:57:32.868" v="392" actId="47"/>
        <pc:sldMkLst>
          <pc:docMk/>
          <pc:sldMk cId="4094530009" sldId="2147469311"/>
        </pc:sldMkLst>
      </pc:sldChg>
      <pc:sldChg chg="add del">
        <pc:chgData name="Cyrille Scuri" userId="0ff3ad52-7312-41f1-b45c-1187e0d5d8d9" providerId="ADAL" clId="{D295DB46-1D78-470C-92CC-0D5F3AD21CF6}" dt="2022-09-07T11:57:33.336" v="393" actId="47"/>
        <pc:sldMkLst>
          <pc:docMk/>
          <pc:sldMk cId="1480379449" sldId="2147469312"/>
        </pc:sldMkLst>
      </pc:sldChg>
      <pc:sldChg chg="addSp delSp modSp add del mod modTransition">
        <pc:chgData name="Cyrille Scuri" userId="0ff3ad52-7312-41f1-b45c-1187e0d5d8d9" providerId="ADAL" clId="{D295DB46-1D78-470C-92CC-0D5F3AD21CF6}" dt="2022-09-07T15:18:05.162" v="2772" actId="14100"/>
        <pc:sldMkLst>
          <pc:docMk/>
          <pc:sldMk cId="3132814849" sldId="2147469312"/>
        </pc:sldMkLst>
        <pc:picChg chg="add del mod modCrop">
          <ac:chgData name="Cyrille Scuri" userId="0ff3ad52-7312-41f1-b45c-1187e0d5d8d9" providerId="ADAL" clId="{D295DB46-1D78-470C-92CC-0D5F3AD21CF6}" dt="2022-09-07T15:17:43.309" v="2742" actId="478"/>
          <ac:picMkLst>
            <pc:docMk/>
            <pc:sldMk cId="3132814849" sldId="2147469312"/>
            <ac:picMk id="3" creationId="{C2D3CEED-6A64-5F86-6318-66B188903B10}"/>
          </ac:picMkLst>
        </pc:picChg>
        <pc:picChg chg="add mod modCrop">
          <ac:chgData name="Cyrille Scuri" userId="0ff3ad52-7312-41f1-b45c-1187e0d5d8d9" providerId="ADAL" clId="{D295DB46-1D78-470C-92CC-0D5F3AD21CF6}" dt="2022-09-07T15:18:05.162" v="2772" actId="14100"/>
          <ac:picMkLst>
            <pc:docMk/>
            <pc:sldMk cId="3132814849" sldId="2147469312"/>
            <ac:picMk id="5" creationId="{758567B8-4C43-99B2-E53E-66B1EBA51EFD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2:11:44.379" v="516" actId="47"/>
        <pc:sldMkLst>
          <pc:docMk/>
          <pc:sldMk cId="191976290" sldId="2147469313"/>
        </pc:sldMkLst>
        <pc:picChg chg="add mod">
          <ac:chgData name="Cyrille Scuri" userId="0ff3ad52-7312-41f1-b45c-1187e0d5d8d9" providerId="ADAL" clId="{D295DB46-1D78-470C-92CC-0D5F3AD21CF6}" dt="2022-09-07T12:00:27.014" v="438" actId="27614"/>
          <ac:picMkLst>
            <pc:docMk/>
            <pc:sldMk cId="191976290" sldId="2147469313"/>
            <ac:picMk id="3" creationId="{21C52361-9D13-399F-FCA1-20FC48FE1DB1}"/>
          </ac:picMkLst>
        </pc:picChg>
      </pc:sldChg>
      <pc:sldChg chg="add del">
        <pc:chgData name="Cyrille Scuri" userId="0ff3ad52-7312-41f1-b45c-1187e0d5d8d9" providerId="ADAL" clId="{D295DB46-1D78-470C-92CC-0D5F3AD21CF6}" dt="2022-09-07T11:57:33.721" v="394" actId="47"/>
        <pc:sldMkLst>
          <pc:docMk/>
          <pc:sldMk cId="2930548675" sldId="2147469313"/>
        </pc:sldMkLst>
      </pc:sldChg>
      <pc:sldChg chg="addSp modSp add del mod">
        <pc:chgData name="Cyrille Scuri" userId="0ff3ad52-7312-41f1-b45c-1187e0d5d8d9" providerId="ADAL" clId="{D295DB46-1D78-470C-92CC-0D5F3AD21CF6}" dt="2022-09-07T12:11:46.073" v="517" actId="47"/>
        <pc:sldMkLst>
          <pc:docMk/>
          <pc:sldMk cId="1156765789" sldId="2147469314"/>
        </pc:sldMkLst>
        <pc:picChg chg="add mod">
          <ac:chgData name="Cyrille Scuri" userId="0ff3ad52-7312-41f1-b45c-1187e0d5d8d9" providerId="ADAL" clId="{D295DB46-1D78-470C-92CC-0D5F3AD21CF6}" dt="2022-09-07T12:00:32.177" v="441" actId="962"/>
          <ac:picMkLst>
            <pc:docMk/>
            <pc:sldMk cId="1156765789" sldId="2147469314"/>
            <ac:picMk id="3" creationId="{953542FD-40C3-0801-D682-2BEC865DDDDD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1303300493" sldId="2147469315"/>
        </pc:sldMkLst>
        <pc:picChg chg="add mod modCrop">
          <ac:chgData name="Cyrille Scuri" userId="0ff3ad52-7312-41f1-b45c-1187e0d5d8d9" providerId="ADAL" clId="{D295DB46-1D78-470C-92CC-0D5F3AD21CF6}" dt="2022-09-07T13:20:02.929" v="1041" actId="14100"/>
          <ac:picMkLst>
            <pc:docMk/>
            <pc:sldMk cId="1303300493" sldId="2147469315"/>
            <ac:picMk id="3" creationId="{F3DC0EA5-0624-70D6-54BE-26FE8D2C58C5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2413407607" sldId="2147469316"/>
        </pc:sldMkLst>
        <pc:picChg chg="add mod modCrop">
          <ac:chgData name="Cyrille Scuri" userId="0ff3ad52-7312-41f1-b45c-1187e0d5d8d9" providerId="ADAL" clId="{D295DB46-1D78-470C-92CC-0D5F3AD21CF6}" dt="2022-09-07T13:20:20.150" v="1064" actId="14100"/>
          <ac:picMkLst>
            <pc:docMk/>
            <pc:sldMk cId="2413407607" sldId="2147469316"/>
            <ac:picMk id="3" creationId="{4B2DD606-0308-0D41-3BDF-A220232E980F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2:19:28.418" v="536" actId="47"/>
        <pc:sldMkLst>
          <pc:docMk/>
          <pc:sldMk cId="776753595" sldId="2147469317"/>
        </pc:sldMkLst>
        <pc:picChg chg="add mod">
          <ac:chgData name="Cyrille Scuri" userId="0ff3ad52-7312-41f1-b45c-1187e0d5d8d9" providerId="ADAL" clId="{D295DB46-1D78-470C-92CC-0D5F3AD21CF6}" dt="2022-09-07T12:02:10.343" v="450" actId="962"/>
          <ac:picMkLst>
            <pc:docMk/>
            <pc:sldMk cId="776753595" sldId="2147469317"/>
            <ac:picMk id="3" creationId="{D30DA239-0ABC-5341-5FEA-BA6A8E68E3B7}"/>
          </ac:picMkLst>
        </pc:picChg>
      </pc:sldChg>
      <pc:sldChg chg="addSp modSp add mod ord modTransition">
        <pc:chgData name="Cyrille Scuri" userId="0ff3ad52-7312-41f1-b45c-1187e0d5d8d9" providerId="ADAL" clId="{D295DB46-1D78-470C-92CC-0D5F3AD21CF6}" dt="2022-09-07T15:06:23.212" v="2643"/>
        <pc:sldMkLst>
          <pc:docMk/>
          <pc:sldMk cId="2575143022" sldId="2147469318"/>
        </pc:sldMkLst>
        <pc:picChg chg="add mod modCrop">
          <ac:chgData name="Cyrille Scuri" userId="0ff3ad52-7312-41f1-b45c-1187e0d5d8d9" providerId="ADAL" clId="{D295DB46-1D78-470C-92CC-0D5F3AD21CF6}" dt="2022-09-07T13:19:40.372" v="985" actId="14100"/>
          <ac:picMkLst>
            <pc:docMk/>
            <pc:sldMk cId="2575143022" sldId="2147469318"/>
            <ac:picMk id="3" creationId="{6527B0DE-BB65-D2AD-EEC7-3A039994D225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1209245120" sldId="2147469319"/>
        </pc:sldMkLst>
      </pc:sldChg>
      <pc:sldChg chg="addSp del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122133022" sldId="2147469319"/>
        </pc:sldMkLst>
        <pc:spChg chg="add del">
          <ac:chgData name="Cyrille Scuri" userId="0ff3ad52-7312-41f1-b45c-1187e0d5d8d9" providerId="ADAL" clId="{D295DB46-1D78-470C-92CC-0D5F3AD21CF6}" dt="2022-09-07T12:48:13.301" v="547" actId="478"/>
          <ac:spMkLst>
            <pc:docMk/>
            <pc:sldMk cId="2122133022" sldId="2147469319"/>
            <ac:spMk id="3" creationId="{D687A19A-DD16-F26B-C141-EF2BD5243032}"/>
          </ac:spMkLst>
        </pc:spChg>
        <pc:picChg chg="add mod modCrop">
          <ac:chgData name="Cyrille Scuri" userId="0ff3ad52-7312-41f1-b45c-1187e0d5d8d9" providerId="ADAL" clId="{D295DB46-1D78-470C-92CC-0D5F3AD21CF6}" dt="2022-09-07T13:20:44.700" v="1133" actId="14100"/>
          <ac:picMkLst>
            <pc:docMk/>
            <pc:sldMk cId="2122133022" sldId="2147469319"/>
            <ac:picMk id="5" creationId="{3A1BF9D3-A147-341D-3BC3-5BD96479B784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470425658" sldId="2147469320"/>
        </pc:sldMkLst>
        <pc:picChg chg="add mod modCrop">
          <ac:chgData name="Cyrille Scuri" userId="0ff3ad52-7312-41f1-b45c-1187e0d5d8d9" providerId="ADAL" clId="{D295DB46-1D78-470C-92CC-0D5F3AD21CF6}" dt="2022-09-07T13:21:11.503" v="1229" actId="14100"/>
          <ac:picMkLst>
            <pc:docMk/>
            <pc:sldMk cId="470425658" sldId="2147469320"/>
            <ac:picMk id="3" creationId="{FFC32F08-573D-9949-DEE8-AF52BBA140FA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695119478" sldId="2147469320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664355684" sldId="2147469321"/>
        </pc:sldMkLst>
        <pc:picChg chg="add mod modCrop">
          <ac:chgData name="Cyrille Scuri" userId="0ff3ad52-7312-41f1-b45c-1187e0d5d8d9" providerId="ADAL" clId="{D295DB46-1D78-470C-92CC-0D5F3AD21CF6}" dt="2022-09-07T13:21:26.095" v="1276" actId="14100"/>
          <ac:picMkLst>
            <pc:docMk/>
            <pc:sldMk cId="2664355684" sldId="2147469321"/>
            <ac:picMk id="3" creationId="{816AB901-28FD-CBEF-6ECC-B6DFFDE7F70D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753192462" sldId="2147469321"/>
        </pc:sldMkLst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1170728446" sldId="2147469322"/>
        </pc:sldMkLst>
      </pc:sldChg>
      <pc:sldChg chg="addSp modSp add del mod ord">
        <pc:chgData name="Cyrille Scuri" userId="0ff3ad52-7312-41f1-b45c-1187e0d5d8d9" providerId="ADAL" clId="{D295DB46-1D78-470C-92CC-0D5F3AD21CF6}" dt="2022-09-07T15:04:32.952" v="2617" actId="2696"/>
        <pc:sldMkLst>
          <pc:docMk/>
          <pc:sldMk cId="3982207710" sldId="2147469322"/>
        </pc:sldMkLst>
        <pc:picChg chg="add mod">
          <ac:chgData name="Cyrille Scuri" userId="0ff3ad52-7312-41f1-b45c-1187e0d5d8d9" providerId="ADAL" clId="{D295DB46-1D78-470C-92CC-0D5F3AD21CF6}" dt="2022-09-07T13:21:49.269" v="1313" actId="14100"/>
          <ac:picMkLst>
            <pc:docMk/>
            <pc:sldMk cId="3982207710" sldId="2147469322"/>
            <ac:picMk id="3" creationId="{85921108-592F-5F7C-0568-BDFF3B8575D0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523031718" sldId="2147469323"/>
        </pc:sldMkLst>
        <pc:picChg chg="add mod">
          <ac:chgData name="Cyrille Scuri" userId="0ff3ad52-7312-41f1-b45c-1187e0d5d8d9" providerId="ADAL" clId="{D295DB46-1D78-470C-92CC-0D5F3AD21CF6}" dt="2022-09-07T13:21:38.882" v="1296" actId="14100"/>
          <ac:picMkLst>
            <pc:docMk/>
            <pc:sldMk cId="523031718" sldId="2147469323"/>
            <ac:picMk id="3" creationId="{FE814334-0045-7BE1-38CF-BC042C1D1031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3603234062" sldId="2147469323"/>
        </pc:sldMkLst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1128858556" sldId="2147469324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440757916" sldId="2147469324"/>
        </pc:sldMkLst>
        <pc:picChg chg="add mod">
          <ac:chgData name="Cyrille Scuri" userId="0ff3ad52-7312-41f1-b45c-1187e0d5d8d9" providerId="ADAL" clId="{D295DB46-1D78-470C-92CC-0D5F3AD21CF6}" dt="2022-09-07T13:21:58.527" v="1329" actId="14100"/>
          <ac:picMkLst>
            <pc:docMk/>
            <pc:sldMk cId="2440757916" sldId="2147469324"/>
            <ac:picMk id="3" creationId="{E9AA1219-1F9A-06A4-5A55-3646AE17EF13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764826660" sldId="2147469325"/>
        </pc:sldMkLst>
        <pc:picChg chg="add mod">
          <ac:chgData name="Cyrille Scuri" userId="0ff3ad52-7312-41f1-b45c-1187e0d5d8d9" providerId="ADAL" clId="{D295DB46-1D78-470C-92CC-0D5F3AD21CF6}" dt="2022-09-07T13:22:13.499" v="1349" actId="14100"/>
          <ac:picMkLst>
            <pc:docMk/>
            <pc:sldMk cId="2764826660" sldId="2147469325"/>
            <ac:picMk id="3" creationId="{77242F8C-4607-8453-85B9-1423FB4F9770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3363469563" sldId="2147469325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296877632" sldId="2147469326"/>
        </pc:sldMkLst>
        <pc:picChg chg="add mod modCrop">
          <ac:chgData name="Cyrille Scuri" userId="0ff3ad52-7312-41f1-b45c-1187e0d5d8d9" providerId="ADAL" clId="{D295DB46-1D78-470C-92CC-0D5F3AD21CF6}" dt="2022-09-07T13:22:29.755" v="1374" actId="14100"/>
          <ac:picMkLst>
            <pc:docMk/>
            <pc:sldMk cId="3296877632" sldId="2147469326"/>
            <ac:picMk id="3" creationId="{ECD597C1-D9C3-4DCF-A01A-C46E4EFE6F77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3391201320" sldId="2147469326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769592561" sldId="2147469327"/>
        </pc:sldMkLst>
        <pc:picChg chg="add mod modCrop">
          <ac:chgData name="Cyrille Scuri" userId="0ff3ad52-7312-41f1-b45c-1187e0d5d8d9" providerId="ADAL" clId="{D295DB46-1D78-470C-92CC-0D5F3AD21CF6}" dt="2022-09-07T13:22:41.361" v="1412" actId="14100"/>
          <ac:picMkLst>
            <pc:docMk/>
            <pc:sldMk cId="3769592561" sldId="2147469327"/>
            <ac:picMk id="3" creationId="{F083865A-30EB-E7AD-C650-CCF12FBF8997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4255593327" sldId="2147469327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439679812" sldId="2147469328"/>
        </pc:sldMkLst>
        <pc:picChg chg="add mod">
          <ac:chgData name="Cyrille Scuri" userId="0ff3ad52-7312-41f1-b45c-1187e0d5d8d9" providerId="ADAL" clId="{D295DB46-1D78-470C-92CC-0D5F3AD21CF6}" dt="2022-09-07T13:22:56.962" v="1428" actId="14100"/>
          <ac:picMkLst>
            <pc:docMk/>
            <pc:sldMk cId="2439679812" sldId="2147469328"/>
            <ac:picMk id="3" creationId="{67371D88-0F08-55F1-8CE1-2E9B38AF9CA6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8T14:05:01.274" v="4858" actId="14100"/>
        <pc:sldMkLst>
          <pc:docMk/>
          <pc:sldMk cId="3563085237" sldId="2147469328"/>
        </pc:sldMkLst>
        <pc:picChg chg="del">
          <ac:chgData name="Cyrille Scuri" userId="0ff3ad52-7312-41f1-b45c-1187e0d5d8d9" providerId="ADAL" clId="{D295DB46-1D78-470C-92CC-0D5F3AD21CF6}" dt="2022-09-08T14:00:12.997" v="4786" actId="478"/>
          <ac:picMkLst>
            <pc:docMk/>
            <pc:sldMk cId="3563085237" sldId="2147469328"/>
            <ac:picMk id="3" creationId="{67371D88-0F08-55F1-8CE1-2E9B38AF9CA6}"/>
          </ac:picMkLst>
        </pc:picChg>
        <pc:picChg chg="add mod modCrop">
          <ac:chgData name="Cyrille Scuri" userId="0ff3ad52-7312-41f1-b45c-1187e0d5d8d9" providerId="ADAL" clId="{D295DB46-1D78-470C-92CC-0D5F3AD21CF6}" dt="2022-09-08T14:05:01.274" v="4858" actId="14100"/>
          <ac:picMkLst>
            <pc:docMk/>
            <pc:sldMk cId="3563085237" sldId="2147469328"/>
            <ac:picMk id="4" creationId="{770E3518-D1E8-7829-4EA8-56DB4F37F542}"/>
          </ac:picMkLst>
        </pc:picChg>
      </pc:sldChg>
      <pc:sldChg chg="addSp delSp modSp add del mod modTransition">
        <pc:chgData name="Cyrille Scuri" userId="0ff3ad52-7312-41f1-b45c-1187e0d5d8d9" providerId="ADAL" clId="{D295DB46-1D78-470C-92CC-0D5F3AD21CF6}" dt="2022-09-08T14:05:18.503" v="4886" actId="14100"/>
        <pc:sldMkLst>
          <pc:docMk/>
          <pc:sldMk cId="370159487" sldId="2147469329"/>
        </pc:sldMkLst>
        <pc:picChg chg="del">
          <ac:chgData name="Cyrille Scuri" userId="0ff3ad52-7312-41f1-b45c-1187e0d5d8d9" providerId="ADAL" clId="{D295DB46-1D78-470C-92CC-0D5F3AD21CF6}" dt="2022-09-08T14:00:17.695" v="4789" actId="478"/>
          <ac:picMkLst>
            <pc:docMk/>
            <pc:sldMk cId="370159487" sldId="2147469329"/>
            <ac:picMk id="3" creationId="{0430A10C-2867-F261-39CC-1C527C17CB5C}"/>
          </ac:picMkLst>
        </pc:picChg>
        <pc:picChg chg="add mod modCrop">
          <ac:chgData name="Cyrille Scuri" userId="0ff3ad52-7312-41f1-b45c-1187e0d5d8d9" providerId="ADAL" clId="{D295DB46-1D78-470C-92CC-0D5F3AD21CF6}" dt="2022-09-08T14:05:18.503" v="4886" actId="14100"/>
          <ac:picMkLst>
            <pc:docMk/>
            <pc:sldMk cId="370159487" sldId="2147469329"/>
            <ac:picMk id="4" creationId="{7D322D8A-214F-ED34-751F-EAAE7D338C5D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772443549" sldId="2147469329"/>
        </pc:sldMkLst>
        <pc:picChg chg="add mod">
          <ac:chgData name="Cyrille Scuri" userId="0ff3ad52-7312-41f1-b45c-1187e0d5d8d9" providerId="ADAL" clId="{D295DB46-1D78-470C-92CC-0D5F3AD21CF6}" dt="2022-09-07T13:23:06.008" v="1445" actId="14100"/>
          <ac:picMkLst>
            <pc:docMk/>
            <pc:sldMk cId="772443549" sldId="2147469329"/>
            <ac:picMk id="3" creationId="{0430A10C-2867-F261-39CC-1C527C17CB5C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8T14:05:42.193" v="4913" actId="14100"/>
        <pc:sldMkLst>
          <pc:docMk/>
          <pc:sldMk cId="3255951905" sldId="2147469330"/>
        </pc:sldMkLst>
        <pc:picChg chg="del">
          <ac:chgData name="Cyrille Scuri" userId="0ff3ad52-7312-41f1-b45c-1187e0d5d8d9" providerId="ADAL" clId="{D295DB46-1D78-470C-92CC-0D5F3AD21CF6}" dt="2022-09-08T14:01:27.511" v="4795" actId="478"/>
          <ac:picMkLst>
            <pc:docMk/>
            <pc:sldMk cId="3255951905" sldId="2147469330"/>
            <ac:picMk id="3" creationId="{1FB7334D-7FC3-4AAF-073A-E1CB4BC20E39}"/>
          </ac:picMkLst>
        </pc:picChg>
        <pc:picChg chg="add mod modCrop">
          <ac:chgData name="Cyrille Scuri" userId="0ff3ad52-7312-41f1-b45c-1187e0d5d8d9" providerId="ADAL" clId="{D295DB46-1D78-470C-92CC-0D5F3AD21CF6}" dt="2022-09-08T14:05:42.193" v="4913" actId="14100"/>
          <ac:picMkLst>
            <pc:docMk/>
            <pc:sldMk cId="3255951905" sldId="2147469330"/>
            <ac:picMk id="4" creationId="{DD9BD3B2-A39C-DE6C-89AC-9449E3AC254A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411585781" sldId="2147469330"/>
        </pc:sldMkLst>
        <pc:picChg chg="add mod">
          <ac:chgData name="Cyrille Scuri" userId="0ff3ad52-7312-41f1-b45c-1187e0d5d8d9" providerId="ADAL" clId="{D295DB46-1D78-470C-92CC-0D5F3AD21CF6}" dt="2022-09-07T13:23:17.226" v="1460" actId="14100"/>
          <ac:picMkLst>
            <pc:docMk/>
            <pc:sldMk cId="3411585781" sldId="2147469330"/>
            <ac:picMk id="3" creationId="{1FB7334D-7FC3-4AAF-073A-E1CB4BC20E39}"/>
          </ac:picMkLst>
        </pc:picChg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1173948451" sldId="2147469331"/>
        </pc:sldMkLst>
      </pc:sldChg>
      <pc:sldChg chg="addSp delSp modSp add mod ord modTransition">
        <pc:chgData name="Cyrille Scuri" userId="0ff3ad52-7312-41f1-b45c-1187e0d5d8d9" providerId="ADAL" clId="{D295DB46-1D78-470C-92CC-0D5F3AD21CF6}" dt="2022-09-07T15:17:36.854" v="2741" actId="478"/>
        <pc:sldMkLst>
          <pc:docMk/>
          <pc:sldMk cId="2206361257" sldId="2147469331"/>
        </pc:sldMkLst>
        <pc:picChg chg="add del mod modCrop">
          <ac:chgData name="Cyrille Scuri" userId="0ff3ad52-7312-41f1-b45c-1187e0d5d8d9" providerId="ADAL" clId="{D295DB46-1D78-470C-92CC-0D5F3AD21CF6}" dt="2022-09-07T15:17:36.854" v="2741" actId="478"/>
          <ac:picMkLst>
            <pc:docMk/>
            <pc:sldMk cId="2206361257" sldId="2147469331"/>
            <ac:picMk id="3" creationId="{F747EEE6-28E1-CAC7-8F10-49B09FCE0CA4}"/>
          </ac:picMkLst>
        </pc:picChg>
        <pc:picChg chg="add del mod modCrop">
          <ac:chgData name="Cyrille Scuri" userId="0ff3ad52-7312-41f1-b45c-1187e0d5d8d9" providerId="ADAL" clId="{D295DB46-1D78-470C-92CC-0D5F3AD21CF6}" dt="2022-09-07T15:17:36.002" v="2740"/>
          <ac:picMkLst>
            <pc:docMk/>
            <pc:sldMk cId="2206361257" sldId="2147469331"/>
            <ac:picMk id="5" creationId="{D3B1E2F9-CD32-BCBC-F6AD-EEBA77D639C0}"/>
          </ac:picMkLst>
        </pc:picChg>
      </pc:sldChg>
      <pc:sldChg chg="add del">
        <pc:chgData name="Cyrille Scuri" userId="0ff3ad52-7312-41f1-b45c-1187e0d5d8d9" providerId="ADAL" clId="{D295DB46-1D78-470C-92CC-0D5F3AD21CF6}" dt="2022-09-07T12:15:34.946" v="528" actId="47"/>
        <pc:sldMkLst>
          <pc:docMk/>
          <pc:sldMk cId="347802517" sldId="2147469332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3512264833" sldId="2147469332"/>
        </pc:sldMkLst>
      </pc:sldChg>
      <pc:sldChg chg="addSp delSp modSp add mod modTransition">
        <pc:chgData name="Cyrille Scuri" userId="0ff3ad52-7312-41f1-b45c-1187e0d5d8d9" providerId="ADAL" clId="{D295DB46-1D78-470C-92CC-0D5F3AD21CF6}" dt="2022-09-07T15:19:41.274" v="2813" actId="14100"/>
        <pc:sldMkLst>
          <pc:docMk/>
          <pc:sldMk cId="273030536" sldId="2147469333"/>
        </pc:sldMkLst>
        <pc:picChg chg="add del mod modCrop">
          <ac:chgData name="Cyrille Scuri" userId="0ff3ad52-7312-41f1-b45c-1187e0d5d8d9" providerId="ADAL" clId="{D295DB46-1D78-470C-92CC-0D5F3AD21CF6}" dt="2022-09-07T15:18:22.501" v="2773" actId="478"/>
          <ac:picMkLst>
            <pc:docMk/>
            <pc:sldMk cId="273030536" sldId="2147469333"/>
            <ac:picMk id="3" creationId="{0758617C-1749-028C-4C0C-6EA41F88E7D7}"/>
          </ac:picMkLst>
        </pc:picChg>
        <pc:picChg chg="add mod modCrop">
          <ac:chgData name="Cyrille Scuri" userId="0ff3ad52-7312-41f1-b45c-1187e0d5d8d9" providerId="ADAL" clId="{D295DB46-1D78-470C-92CC-0D5F3AD21CF6}" dt="2022-09-07T15:19:41.274" v="2813" actId="14100"/>
          <ac:picMkLst>
            <pc:docMk/>
            <pc:sldMk cId="273030536" sldId="2147469333"/>
            <ac:picMk id="5" creationId="{F3B69A51-D582-FC77-CDD8-0697406C2A3F}"/>
          </ac:picMkLst>
        </pc:picChg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1503304769" sldId="2147469333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673086213" sldId="2147469334"/>
        </pc:sldMkLst>
      </pc:sldChg>
      <pc:sldChg chg="modSp add mod modTransition">
        <pc:chgData name="Cyrille Scuri" userId="0ff3ad52-7312-41f1-b45c-1187e0d5d8d9" providerId="ADAL" clId="{D295DB46-1D78-470C-92CC-0D5F3AD21CF6}" dt="2022-09-07T15:06:23.212" v="2643"/>
        <pc:sldMkLst>
          <pc:docMk/>
          <pc:sldMk cId="2463825269" sldId="2147469334"/>
        </pc:sldMkLst>
        <pc:picChg chg="mod">
          <ac:chgData name="Cyrille Scuri" userId="0ff3ad52-7312-41f1-b45c-1187e0d5d8d9" providerId="ADAL" clId="{D295DB46-1D78-470C-92CC-0D5F3AD21CF6}" dt="2022-09-07T13:12:23.173" v="756" actId="14100"/>
          <ac:picMkLst>
            <pc:docMk/>
            <pc:sldMk cId="2463825269" sldId="2147469334"/>
            <ac:picMk id="3" creationId="{DCBA82B6-4A46-5C7D-6209-38EC467B4A62}"/>
          </ac:picMkLst>
        </pc:picChg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359166481" sldId="2147469335"/>
        </pc:sldMkLst>
      </pc:sldChg>
      <pc:sldChg chg="addSp modSp add del mod">
        <pc:chgData name="Cyrille Scuri" userId="0ff3ad52-7312-41f1-b45c-1187e0d5d8d9" providerId="ADAL" clId="{D295DB46-1D78-470C-92CC-0D5F3AD21CF6}" dt="2022-09-07T13:32:17.312" v="1811" actId="47"/>
        <pc:sldMkLst>
          <pc:docMk/>
          <pc:sldMk cId="1367549149" sldId="2147469335"/>
        </pc:sldMkLst>
        <pc:picChg chg="add mod modCrop">
          <ac:chgData name="Cyrille Scuri" userId="0ff3ad52-7312-41f1-b45c-1187e0d5d8d9" providerId="ADAL" clId="{D295DB46-1D78-470C-92CC-0D5F3AD21CF6}" dt="2022-09-07T13:10:58.592" v="693" actId="732"/>
          <ac:picMkLst>
            <pc:docMk/>
            <pc:sldMk cId="1367549149" sldId="2147469335"/>
            <ac:picMk id="3" creationId="{AF15382F-891E-18E8-37D0-D4E6F42675A8}"/>
          </ac:picMkLst>
        </pc:picChg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2258423239" sldId="2147469336"/>
        </pc:sldMkLst>
        <pc:picChg chg="add mod">
          <ac:chgData name="Cyrille Scuri" userId="0ff3ad52-7312-41f1-b45c-1187e0d5d8d9" providerId="ADAL" clId="{D295DB46-1D78-470C-92CC-0D5F3AD21CF6}" dt="2022-09-07T13:32:25.744" v="1829" actId="14100"/>
          <ac:picMkLst>
            <pc:docMk/>
            <pc:sldMk cId="2258423239" sldId="2147469336"/>
            <ac:picMk id="3" creationId="{ADA707FB-7424-6D6B-DEDC-22E84CA7F66E}"/>
          </ac:picMkLst>
        </pc:picChg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266331144" sldId="2147469336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3773479015" sldId="2147469336"/>
        </pc:sldMkLst>
      </pc:sldChg>
      <pc:sldChg chg="addSp modSp add del mod ord">
        <pc:chgData name="Cyrille Scuri" userId="0ff3ad52-7312-41f1-b45c-1187e0d5d8d9" providerId="ADAL" clId="{D295DB46-1D78-470C-92CC-0D5F3AD21CF6}" dt="2022-09-07T15:04:32.952" v="2617" actId="2696"/>
        <pc:sldMkLst>
          <pc:docMk/>
          <pc:sldMk cId="1034938062" sldId="2147469337"/>
        </pc:sldMkLst>
        <pc:picChg chg="add mod modCrop">
          <ac:chgData name="Cyrille Scuri" userId="0ff3ad52-7312-41f1-b45c-1187e0d5d8d9" providerId="ADAL" clId="{D295DB46-1D78-470C-92CC-0D5F3AD21CF6}" dt="2022-09-07T13:21:00.672" v="1201" actId="14100"/>
          <ac:picMkLst>
            <pc:docMk/>
            <pc:sldMk cId="1034938062" sldId="2147469337"/>
            <ac:picMk id="3" creationId="{60F9CFA1-5245-FE8C-0A40-DD5930892110}"/>
          </ac:picMkLst>
        </pc:picChg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2329113934" sldId="2147469337"/>
        </pc:sldMkLst>
      </pc:sldChg>
      <pc:sldChg chg="add modTransition">
        <pc:chgData name="Cyrille Scuri" userId="0ff3ad52-7312-41f1-b45c-1187e0d5d8d9" providerId="ADAL" clId="{D295DB46-1D78-470C-92CC-0D5F3AD21CF6}" dt="2022-09-07T15:06:23.212" v="2643"/>
        <pc:sldMkLst>
          <pc:docMk/>
          <pc:sldMk cId="2582354107" sldId="2147469337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3758787526" sldId="2147469338"/>
        </pc:sldMkLst>
      </pc:sldChg>
      <pc:sldChg chg="add del">
        <pc:chgData name="Cyrille Scuri" userId="0ff3ad52-7312-41f1-b45c-1187e0d5d8d9" providerId="ADAL" clId="{D295DB46-1D78-470C-92CC-0D5F3AD21CF6}" dt="2022-09-07T13:55:23.093" v="2417" actId="47"/>
        <pc:sldMkLst>
          <pc:docMk/>
          <pc:sldMk cId="4012759575" sldId="2147469338"/>
        </pc:sldMkLst>
      </pc:sldChg>
      <pc:sldChg chg="add del">
        <pc:chgData name="Cyrille Scuri" userId="0ff3ad52-7312-41f1-b45c-1187e0d5d8d9" providerId="ADAL" clId="{D295DB46-1D78-470C-92CC-0D5F3AD21CF6}" dt="2022-09-07T13:55:23.551" v="2418" actId="47"/>
        <pc:sldMkLst>
          <pc:docMk/>
          <pc:sldMk cId="2086790812" sldId="2147469339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2659390559" sldId="2147469339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2347583727" sldId="2147469340"/>
        </pc:sldMkLst>
      </pc:sldChg>
      <pc:sldChg chg="addSp modSp add del mod">
        <pc:chgData name="Cyrille Scuri" userId="0ff3ad52-7312-41f1-b45c-1187e0d5d8d9" providerId="ADAL" clId="{D295DB46-1D78-470C-92CC-0D5F3AD21CF6}" dt="2022-09-07T15:04:32.952" v="2617" actId="2696"/>
        <pc:sldMkLst>
          <pc:docMk/>
          <pc:sldMk cId="3964005141" sldId="2147469340"/>
        </pc:sldMkLst>
        <pc:picChg chg="add mod modCrop">
          <ac:chgData name="Cyrille Scuri" userId="0ff3ad52-7312-41f1-b45c-1187e0d5d8d9" providerId="ADAL" clId="{D295DB46-1D78-470C-92CC-0D5F3AD21CF6}" dt="2022-09-07T13:30:27.379" v="1756" actId="14100"/>
          <ac:picMkLst>
            <pc:docMk/>
            <pc:sldMk cId="3964005141" sldId="2147469340"/>
            <ac:picMk id="3" creationId="{A03A7CDB-1038-BEAB-EF1B-D36C6DD180C7}"/>
          </ac:picMkLst>
        </pc:picChg>
      </pc:sldChg>
      <pc:sldChg chg="add del modTransition">
        <pc:chgData name="Cyrille Scuri" userId="0ff3ad52-7312-41f1-b45c-1187e0d5d8d9" providerId="ADAL" clId="{D295DB46-1D78-470C-92CC-0D5F3AD21CF6}" dt="2022-09-08T14:07:30.700" v="4989" actId="47"/>
        <pc:sldMkLst>
          <pc:docMk/>
          <pc:sldMk cId="4109960901" sldId="2147469340"/>
        </pc:sldMkLst>
      </pc:sldChg>
      <pc:sldChg chg="add del">
        <pc:chgData name="Cyrille Scuri" userId="0ff3ad52-7312-41f1-b45c-1187e0d5d8d9" providerId="ADAL" clId="{D295DB46-1D78-470C-92CC-0D5F3AD21CF6}" dt="2022-09-07T15:04:32.952" v="2617" actId="2696"/>
        <pc:sldMkLst>
          <pc:docMk/>
          <pc:sldMk cId="227434346" sldId="2147469341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463512406" sldId="2147469341"/>
        </pc:sldMkLst>
      </pc:sldChg>
      <pc:sldChg chg="add del modTransition">
        <pc:chgData name="Cyrille Scuri" userId="0ff3ad52-7312-41f1-b45c-1187e0d5d8d9" providerId="ADAL" clId="{D295DB46-1D78-470C-92CC-0D5F3AD21CF6}" dt="2022-09-08T14:35:53.342" v="5161" actId="47"/>
        <pc:sldMkLst>
          <pc:docMk/>
          <pc:sldMk cId="2284999729" sldId="2147469341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782779371" sldId="2147469342"/>
        </pc:sldMkLst>
      </pc:sldChg>
      <pc:sldChg chg="delSp add mod modTransition delAnim">
        <pc:chgData name="Cyrille Scuri" userId="0ff3ad52-7312-41f1-b45c-1187e0d5d8d9" providerId="ADAL" clId="{D295DB46-1D78-470C-92CC-0D5F3AD21CF6}" dt="2022-09-07T15:06:23.212" v="2643"/>
        <pc:sldMkLst>
          <pc:docMk/>
          <pc:sldMk cId="1734838540" sldId="2147469342"/>
        </pc:sldMkLst>
        <pc:spChg chg="del">
          <ac:chgData name="Cyrille Scuri" userId="0ff3ad52-7312-41f1-b45c-1187e0d5d8d9" providerId="ADAL" clId="{D295DB46-1D78-470C-92CC-0D5F3AD21CF6}" dt="2022-09-07T13:52:08.930" v="2379" actId="478"/>
          <ac:spMkLst>
            <pc:docMk/>
            <pc:sldMk cId="1734838540" sldId="2147469342"/>
            <ac:spMk id="19" creationId="{5495507B-9698-E4B2-B4C7-9A71302C6479}"/>
          </ac:spMkLst>
        </pc:spChg>
        <pc:spChg chg="del">
          <ac:chgData name="Cyrille Scuri" userId="0ff3ad52-7312-41f1-b45c-1187e0d5d8d9" providerId="ADAL" clId="{D295DB46-1D78-470C-92CC-0D5F3AD21CF6}" dt="2022-09-07T13:52:11.988" v="2382" actId="478"/>
          <ac:spMkLst>
            <pc:docMk/>
            <pc:sldMk cId="1734838540" sldId="2147469342"/>
            <ac:spMk id="20" creationId="{1C6CFFA9-0A69-9D31-637F-714419DC03DD}"/>
          </ac:spMkLst>
        </pc:spChg>
        <pc:spChg chg="del">
          <ac:chgData name="Cyrille Scuri" userId="0ff3ad52-7312-41f1-b45c-1187e0d5d8d9" providerId="ADAL" clId="{D295DB46-1D78-470C-92CC-0D5F3AD21CF6}" dt="2022-09-07T13:52:13.077" v="2383" actId="478"/>
          <ac:spMkLst>
            <pc:docMk/>
            <pc:sldMk cId="1734838540" sldId="2147469342"/>
            <ac:spMk id="22" creationId="{07D49F20-7A49-C178-58FD-47859236C5CF}"/>
          </ac:spMkLst>
        </pc:spChg>
        <pc:picChg chg="del">
          <ac:chgData name="Cyrille Scuri" userId="0ff3ad52-7312-41f1-b45c-1187e0d5d8d9" providerId="ADAL" clId="{D295DB46-1D78-470C-92CC-0D5F3AD21CF6}" dt="2022-09-07T13:52:09.831" v="2380" actId="478"/>
          <ac:picMkLst>
            <pc:docMk/>
            <pc:sldMk cId="1734838540" sldId="2147469342"/>
            <ac:picMk id="28" creationId="{CC3A894F-1718-6679-AE41-09EDF811F107}"/>
          </ac:picMkLst>
        </pc:picChg>
        <pc:picChg chg="del">
          <ac:chgData name="Cyrille Scuri" userId="0ff3ad52-7312-41f1-b45c-1187e0d5d8d9" providerId="ADAL" clId="{D295DB46-1D78-470C-92CC-0D5F3AD21CF6}" dt="2022-09-07T13:52:07.735" v="2378" actId="478"/>
          <ac:picMkLst>
            <pc:docMk/>
            <pc:sldMk cId="1734838540" sldId="2147469342"/>
            <ac:picMk id="29" creationId="{99E966AF-2C78-3C7F-36A5-345F95BFC77B}"/>
          </ac:picMkLst>
        </pc:picChg>
        <pc:picChg chg="del">
          <ac:chgData name="Cyrille Scuri" userId="0ff3ad52-7312-41f1-b45c-1187e0d5d8d9" providerId="ADAL" clId="{D295DB46-1D78-470C-92CC-0D5F3AD21CF6}" dt="2022-09-07T13:52:10.814" v="2381" actId="478"/>
          <ac:picMkLst>
            <pc:docMk/>
            <pc:sldMk cId="1734838540" sldId="2147469342"/>
            <ac:picMk id="30" creationId="{8BA21235-9AC4-1E90-4BCE-E383D0B42E9C}"/>
          </ac:picMkLst>
        </pc:picChg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1231092861" sldId="2147469343"/>
        </pc:sldMkLst>
      </pc:sldChg>
      <pc:sldChg chg="add del">
        <pc:chgData name="Cyrille Scuri" userId="0ff3ad52-7312-41f1-b45c-1187e0d5d8d9" providerId="ADAL" clId="{D295DB46-1D78-470C-92CC-0D5F3AD21CF6}" dt="2022-09-07T13:54:59.519" v="2412" actId="47"/>
        <pc:sldMkLst>
          <pc:docMk/>
          <pc:sldMk cId="1756267439" sldId="2147469343"/>
        </pc:sldMkLst>
      </pc:sldChg>
      <pc:sldChg chg="add del">
        <pc:chgData name="Cyrille Scuri" userId="0ff3ad52-7312-41f1-b45c-1187e0d5d8d9" providerId="ADAL" clId="{D295DB46-1D78-470C-92CC-0D5F3AD21CF6}" dt="2022-09-07T11:59:51.931" v="423"/>
        <pc:sldMkLst>
          <pc:docMk/>
          <pc:sldMk cId="1827417845" sldId="2147469344"/>
        </pc:sldMkLst>
      </pc:sldChg>
      <pc:sldChg chg="delSp modSp add del mod delAnim">
        <pc:chgData name="Cyrille Scuri" userId="0ff3ad52-7312-41f1-b45c-1187e0d5d8d9" providerId="ADAL" clId="{D295DB46-1D78-470C-92CC-0D5F3AD21CF6}" dt="2022-09-07T15:05:32.079" v="2627" actId="47"/>
        <pc:sldMkLst>
          <pc:docMk/>
          <pc:sldMk cId="2005631696" sldId="2147469344"/>
        </pc:sldMkLst>
        <pc:spChg chg="del">
          <ac:chgData name="Cyrille Scuri" userId="0ff3ad52-7312-41f1-b45c-1187e0d5d8d9" providerId="ADAL" clId="{D295DB46-1D78-470C-92CC-0D5F3AD21CF6}" dt="2022-09-07T13:52:51.276" v="2389" actId="478"/>
          <ac:spMkLst>
            <pc:docMk/>
            <pc:sldMk cId="2005631696" sldId="2147469344"/>
            <ac:spMk id="19" creationId="{5495507B-9698-E4B2-B4C7-9A71302C6479}"/>
          </ac:spMkLst>
        </pc:spChg>
        <pc:spChg chg="del">
          <ac:chgData name="Cyrille Scuri" userId="0ff3ad52-7312-41f1-b45c-1187e0d5d8d9" providerId="ADAL" clId="{D295DB46-1D78-470C-92CC-0D5F3AD21CF6}" dt="2022-09-07T13:52:58.462" v="2391" actId="478"/>
          <ac:spMkLst>
            <pc:docMk/>
            <pc:sldMk cId="2005631696" sldId="2147469344"/>
            <ac:spMk id="20" creationId="{1C6CFFA9-0A69-9D31-637F-714419DC03DD}"/>
          </ac:spMkLst>
        </pc:spChg>
        <pc:spChg chg="del mod">
          <ac:chgData name="Cyrille Scuri" userId="0ff3ad52-7312-41f1-b45c-1187e0d5d8d9" providerId="ADAL" clId="{D295DB46-1D78-470C-92CC-0D5F3AD21CF6}" dt="2022-09-07T13:53:07.568" v="2394" actId="478"/>
          <ac:spMkLst>
            <pc:docMk/>
            <pc:sldMk cId="2005631696" sldId="2147469344"/>
            <ac:spMk id="21" creationId="{20C9DAB5-BD77-BE4C-9769-B08A40658135}"/>
          </ac:spMkLst>
        </pc:spChg>
        <pc:spChg chg="del mod">
          <ac:chgData name="Cyrille Scuri" userId="0ff3ad52-7312-41f1-b45c-1187e0d5d8d9" providerId="ADAL" clId="{D295DB46-1D78-470C-92CC-0D5F3AD21CF6}" dt="2022-09-07T13:53:10.036" v="2395" actId="478"/>
          <ac:spMkLst>
            <pc:docMk/>
            <pc:sldMk cId="2005631696" sldId="2147469344"/>
            <ac:spMk id="23" creationId="{1B26628E-70BB-7308-18D1-2D94052BFFFC}"/>
          </ac:spMkLst>
        </pc:spChg>
        <pc:picChg chg="del">
          <ac:chgData name="Cyrille Scuri" userId="0ff3ad52-7312-41f1-b45c-1187e0d5d8d9" providerId="ADAL" clId="{D295DB46-1D78-470C-92CC-0D5F3AD21CF6}" dt="2022-09-07T13:52:48.956" v="2388" actId="478"/>
          <ac:picMkLst>
            <pc:docMk/>
            <pc:sldMk cId="2005631696" sldId="2147469344"/>
            <ac:picMk id="29" creationId="{99E966AF-2C78-3C7F-36A5-345F95BFC77B}"/>
          </ac:picMkLst>
        </pc:picChg>
        <pc:picChg chg="del">
          <ac:chgData name="Cyrille Scuri" userId="0ff3ad52-7312-41f1-b45c-1187e0d5d8d9" providerId="ADAL" clId="{D295DB46-1D78-470C-92CC-0D5F3AD21CF6}" dt="2022-09-07T13:52:59.496" v="2392" actId="478"/>
          <ac:picMkLst>
            <pc:docMk/>
            <pc:sldMk cId="2005631696" sldId="2147469344"/>
            <ac:picMk id="30" creationId="{8BA21235-9AC4-1E90-4BCE-E383D0B42E9C}"/>
          </ac:picMkLst>
        </pc:picChg>
      </pc:sldChg>
      <pc:sldChg chg="add del">
        <pc:chgData name="Cyrille Scuri" userId="0ff3ad52-7312-41f1-b45c-1187e0d5d8d9" providerId="ADAL" clId="{D295DB46-1D78-470C-92CC-0D5F3AD21CF6}" dt="2022-09-07T15:04:51.878" v="2619" actId="47"/>
        <pc:sldMkLst>
          <pc:docMk/>
          <pc:sldMk cId="3593626283" sldId="2147469345"/>
        </pc:sldMkLst>
      </pc:sldChg>
      <pc:sldChg chg="delSp add del mod delAnim modAnim">
        <pc:chgData name="Cyrille Scuri" userId="0ff3ad52-7312-41f1-b45c-1187e0d5d8d9" providerId="ADAL" clId="{D295DB46-1D78-470C-92CC-0D5F3AD21CF6}" dt="2022-09-07T15:04:32.952" v="2617" actId="2696"/>
        <pc:sldMkLst>
          <pc:docMk/>
          <pc:sldMk cId="4065715867" sldId="2147469345"/>
        </pc:sldMkLst>
        <pc:spChg chg="del">
          <ac:chgData name="Cyrille Scuri" userId="0ff3ad52-7312-41f1-b45c-1187e0d5d8d9" providerId="ADAL" clId="{D295DB46-1D78-470C-92CC-0D5F3AD21CF6}" dt="2022-09-07T13:54:03.986" v="2398" actId="478"/>
          <ac:spMkLst>
            <pc:docMk/>
            <pc:sldMk cId="4065715867" sldId="2147469345"/>
            <ac:spMk id="19" creationId="{5495507B-9698-E4B2-B4C7-9A71302C6479}"/>
          </ac:spMkLst>
        </pc:spChg>
        <pc:spChg chg="del">
          <ac:chgData name="Cyrille Scuri" userId="0ff3ad52-7312-41f1-b45c-1187e0d5d8d9" providerId="ADAL" clId="{D295DB46-1D78-470C-92CC-0D5F3AD21CF6}" dt="2022-09-07T13:54:06.842" v="2399" actId="478"/>
          <ac:spMkLst>
            <pc:docMk/>
            <pc:sldMk cId="4065715867" sldId="2147469345"/>
            <ac:spMk id="21" creationId="{20C9DAB5-BD77-BE4C-9769-B08A40658135}"/>
          </ac:spMkLst>
        </pc:spChg>
        <pc:spChg chg="del">
          <ac:chgData name="Cyrille Scuri" userId="0ff3ad52-7312-41f1-b45c-1187e0d5d8d9" providerId="ADAL" clId="{D295DB46-1D78-470C-92CC-0D5F3AD21CF6}" dt="2022-09-07T13:54:08.884" v="2400" actId="478"/>
          <ac:spMkLst>
            <pc:docMk/>
            <pc:sldMk cId="4065715867" sldId="2147469345"/>
            <ac:spMk id="23" creationId="{1B26628E-70BB-7308-18D1-2D94052BFFFC}"/>
          </ac:spMkLst>
        </pc:spChg>
        <pc:picChg chg="del">
          <ac:chgData name="Cyrille Scuri" userId="0ff3ad52-7312-41f1-b45c-1187e0d5d8d9" providerId="ADAL" clId="{D295DB46-1D78-470C-92CC-0D5F3AD21CF6}" dt="2022-09-07T13:54:02.268" v="2397" actId="478"/>
          <ac:picMkLst>
            <pc:docMk/>
            <pc:sldMk cId="4065715867" sldId="2147469345"/>
            <ac:picMk id="29" creationId="{99E966AF-2C78-3C7F-36A5-345F95BFC77B}"/>
          </ac:picMkLst>
        </pc:picChg>
      </pc:sldChg>
      <pc:sldChg chg="modSp add del mod modTransition modShow">
        <pc:chgData name="Cyrille Scuri" userId="0ff3ad52-7312-41f1-b45c-1187e0d5d8d9" providerId="ADAL" clId="{D295DB46-1D78-470C-92CC-0D5F3AD21CF6}" dt="2022-09-08T14:47:39.514" v="5162" actId="47"/>
        <pc:sldMkLst>
          <pc:docMk/>
          <pc:sldMk cId="479007766" sldId="2147469346"/>
        </pc:sldMkLst>
        <pc:spChg chg="mod">
          <ac:chgData name="Cyrille Scuri" userId="0ff3ad52-7312-41f1-b45c-1187e0d5d8d9" providerId="ADAL" clId="{D295DB46-1D78-470C-92CC-0D5F3AD21CF6}" dt="2022-09-07T15:02:44.121" v="2569" actId="20577"/>
          <ac:spMkLst>
            <pc:docMk/>
            <pc:sldMk cId="479007766" sldId="2147469346"/>
            <ac:spMk id="20" creationId="{1C6CFFA9-0A69-9D31-637F-714419DC03DD}"/>
          </ac:spMkLst>
        </pc:spChg>
        <pc:spChg chg="mod">
          <ac:chgData name="Cyrille Scuri" userId="0ff3ad52-7312-41f1-b45c-1187e0d5d8d9" providerId="ADAL" clId="{D295DB46-1D78-470C-92CC-0D5F3AD21CF6}" dt="2022-09-07T15:02:50.800" v="2572" actId="20577"/>
          <ac:spMkLst>
            <pc:docMk/>
            <pc:sldMk cId="479007766" sldId="2147469346"/>
            <ac:spMk id="22" creationId="{07D49F20-7A49-C178-58FD-47859236C5CF}"/>
          </ac:spMkLst>
        </pc:spChg>
        <pc:picChg chg="mod">
          <ac:chgData name="Cyrille Scuri" userId="0ff3ad52-7312-41f1-b45c-1187e0d5d8d9" providerId="ADAL" clId="{D295DB46-1D78-470C-92CC-0D5F3AD21CF6}" dt="2022-09-07T15:02:47.627" v="2571" actId="1076"/>
          <ac:picMkLst>
            <pc:docMk/>
            <pc:sldMk cId="479007766" sldId="2147469346"/>
            <ac:picMk id="28" creationId="{CC3A894F-1718-6679-AE41-09EDF811F107}"/>
          </ac:picMkLst>
        </pc:picChg>
      </pc:sldChg>
      <pc:sldChg chg="delSp add del mod delAnim modAnim">
        <pc:chgData name="Cyrille Scuri" userId="0ff3ad52-7312-41f1-b45c-1187e0d5d8d9" providerId="ADAL" clId="{D295DB46-1D78-470C-92CC-0D5F3AD21CF6}" dt="2022-09-07T15:05:55.321" v="2636" actId="47"/>
        <pc:sldMkLst>
          <pc:docMk/>
          <pc:sldMk cId="2086588419" sldId="2147469347"/>
        </pc:sldMkLst>
        <pc:spChg chg="del">
          <ac:chgData name="Cyrille Scuri" userId="0ff3ad52-7312-41f1-b45c-1187e0d5d8d9" providerId="ADAL" clId="{D295DB46-1D78-470C-92CC-0D5F3AD21CF6}" dt="2022-09-07T13:54:44.482" v="2405" actId="478"/>
          <ac:spMkLst>
            <pc:docMk/>
            <pc:sldMk cId="2086588419" sldId="2147469347"/>
            <ac:spMk id="21" creationId="{20C9DAB5-BD77-BE4C-9769-B08A40658135}"/>
          </ac:spMkLst>
        </pc:spChg>
        <pc:spChg chg="del">
          <ac:chgData name="Cyrille Scuri" userId="0ff3ad52-7312-41f1-b45c-1187e0d5d8d9" providerId="ADAL" clId="{D295DB46-1D78-470C-92CC-0D5F3AD21CF6}" dt="2022-09-07T13:54:46.701" v="2406" actId="478"/>
          <ac:spMkLst>
            <pc:docMk/>
            <pc:sldMk cId="2086588419" sldId="2147469347"/>
            <ac:spMk id="23" creationId="{1B26628E-70BB-7308-18D1-2D94052BFFFC}"/>
          </ac:spMkLst>
        </pc:spChg>
      </pc:sldChg>
      <pc:sldChg chg="addSp add del mod modClrScheme chgLayout">
        <pc:chgData name="Cyrille Scuri" userId="0ff3ad52-7312-41f1-b45c-1187e0d5d8d9" providerId="ADAL" clId="{D295DB46-1D78-470C-92CC-0D5F3AD21CF6}" dt="2022-09-07T14:57:06.088" v="2503" actId="47"/>
        <pc:sldMkLst>
          <pc:docMk/>
          <pc:sldMk cId="1921239705" sldId="2147469348"/>
        </pc:sldMkLst>
        <pc:picChg chg="add">
          <ac:chgData name="Cyrille Scuri" userId="0ff3ad52-7312-41f1-b45c-1187e0d5d8d9" providerId="ADAL" clId="{D295DB46-1D78-470C-92CC-0D5F3AD21CF6}" dt="2022-09-07T14:05:32.824" v="2457" actId="22"/>
          <ac:picMkLst>
            <pc:docMk/>
            <pc:sldMk cId="1921239705" sldId="2147469348"/>
            <ac:picMk id="3" creationId="{75D1D41A-3A2F-0823-B353-BC399E59F2F4}"/>
          </ac:picMkLst>
        </pc:picChg>
      </pc:sldChg>
      <pc:sldChg chg="add del">
        <pc:chgData name="Cyrille Scuri" userId="0ff3ad52-7312-41f1-b45c-1187e0d5d8d9" providerId="ADAL" clId="{D295DB46-1D78-470C-92CC-0D5F3AD21CF6}" dt="2022-09-07T14:04:46.971" v="2437" actId="47"/>
        <pc:sldMkLst>
          <pc:docMk/>
          <pc:sldMk cId="388484691" sldId="2147469349"/>
        </pc:sldMkLst>
      </pc:sldChg>
      <pc:sldChg chg="add del">
        <pc:chgData name="Cyrille Scuri" userId="0ff3ad52-7312-41f1-b45c-1187e0d5d8d9" providerId="ADAL" clId="{D295DB46-1D78-470C-92CC-0D5F3AD21CF6}" dt="2022-09-07T14:04:50.433" v="2439" actId="47"/>
        <pc:sldMkLst>
          <pc:docMk/>
          <pc:sldMk cId="3700788858" sldId="2147469350"/>
        </pc:sldMkLst>
      </pc:sldChg>
      <pc:sldChg chg="add del">
        <pc:chgData name="Cyrille Scuri" userId="0ff3ad52-7312-41f1-b45c-1187e0d5d8d9" providerId="ADAL" clId="{D295DB46-1D78-470C-92CC-0D5F3AD21CF6}" dt="2022-09-07T14:04:52.693" v="2440" actId="47"/>
        <pc:sldMkLst>
          <pc:docMk/>
          <pc:sldMk cId="1560646162" sldId="2147469351"/>
        </pc:sldMkLst>
      </pc:sldChg>
      <pc:sldChg chg="add del">
        <pc:chgData name="Cyrille Scuri" userId="0ff3ad52-7312-41f1-b45c-1187e0d5d8d9" providerId="ADAL" clId="{D295DB46-1D78-470C-92CC-0D5F3AD21CF6}" dt="2022-09-07T14:04:58.934" v="2443" actId="47"/>
        <pc:sldMkLst>
          <pc:docMk/>
          <pc:sldMk cId="3528247402" sldId="2147469352"/>
        </pc:sldMkLst>
      </pc:sldChg>
      <pc:sldChg chg="add del">
        <pc:chgData name="Cyrille Scuri" userId="0ff3ad52-7312-41f1-b45c-1187e0d5d8d9" providerId="ADAL" clId="{D295DB46-1D78-470C-92CC-0D5F3AD21CF6}" dt="2022-09-07T14:05:02.505" v="2445" actId="47"/>
        <pc:sldMkLst>
          <pc:docMk/>
          <pc:sldMk cId="4016214447" sldId="2147469353"/>
        </pc:sldMkLst>
      </pc:sldChg>
      <pc:sldChg chg="add del">
        <pc:chgData name="Cyrille Scuri" userId="0ff3ad52-7312-41f1-b45c-1187e0d5d8d9" providerId="ADAL" clId="{D295DB46-1D78-470C-92CC-0D5F3AD21CF6}" dt="2022-09-07T14:05:07.023" v="2447" actId="47"/>
        <pc:sldMkLst>
          <pc:docMk/>
          <pc:sldMk cId="3222863175" sldId="2147469354"/>
        </pc:sldMkLst>
      </pc:sldChg>
      <pc:sldChg chg="add del">
        <pc:chgData name="Cyrille Scuri" userId="0ff3ad52-7312-41f1-b45c-1187e0d5d8d9" providerId="ADAL" clId="{D295DB46-1D78-470C-92CC-0D5F3AD21CF6}" dt="2022-09-07T14:05:10.891" v="2449" actId="47"/>
        <pc:sldMkLst>
          <pc:docMk/>
          <pc:sldMk cId="1885729902" sldId="2147469355"/>
        </pc:sldMkLst>
      </pc:sldChg>
      <pc:sldChg chg="add del">
        <pc:chgData name="Cyrille Scuri" userId="0ff3ad52-7312-41f1-b45c-1187e0d5d8d9" providerId="ADAL" clId="{D295DB46-1D78-470C-92CC-0D5F3AD21CF6}" dt="2022-09-07T14:05:14.527" v="2451" actId="47"/>
        <pc:sldMkLst>
          <pc:docMk/>
          <pc:sldMk cId="3720199402" sldId="2147469356"/>
        </pc:sldMkLst>
      </pc:sldChg>
      <pc:sldChg chg="add del">
        <pc:chgData name="Cyrille Scuri" userId="0ff3ad52-7312-41f1-b45c-1187e0d5d8d9" providerId="ADAL" clId="{D295DB46-1D78-470C-92CC-0D5F3AD21CF6}" dt="2022-09-07T14:05:18.489" v="2453" actId="47"/>
        <pc:sldMkLst>
          <pc:docMk/>
          <pc:sldMk cId="1704650941" sldId="2147469357"/>
        </pc:sldMkLst>
      </pc:sldChg>
      <pc:sldChg chg="addSp add del mod">
        <pc:chgData name="Cyrille Scuri" userId="0ff3ad52-7312-41f1-b45c-1187e0d5d8d9" providerId="ADAL" clId="{D295DB46-1D78-470C-92CC-0D5F3AD21CF6}" dt="2022-09-07T14:57:06.460" v="2504" actId="47"/>
        <pc:sldMkLst>
          <pc:docMk/>
          <pc:sldMk cId="264416544" sldId="2147469358"/>
        </pc:sldMkLst>
        <pc:picChg chg="add">
          <ac:chgData name="Cyrille Scuri" userId="0ff3ad52-7312-41f1-b45c-1187e0d5d8d9" providerId="ADAL" clId="{D295DB46-1D78-470C-92CC-0D5F3AD21CF6}" dt="2022-09-07T14:05:39.502" v="2459" actId="22"/>
          <ac:picMkLst>
            <pc:docMk/>
            <pc:sldMk cId="264416544" sldId="2147469358"/>
            <ac:picMk id="3" creationId="{87A7DA7B-0966-F59E-27FA-74013BB9DE02}"/>
          </ac:picMkLst>
        </pc:picChg>
      </pc:sldChg>
      <pc:sldChg chg="addSp add del mod">
        <pc:chgData name="Cyrille Scuri" userId="0ff3ad52-7312-41f1-b45c-1187e0d5d8d9" providerId="ADAL" clId="{D295DB46-1D78-470C-92CC-0D5F3AD21CF6}" dt="2022-09-07T14:57:07.340" v="2505" actId="47"/>
        <pc:sldMkLst>
          <pc:docMk/>
          <pc:sldMk cId="2804712495" sldId="2147469359"/>
        </pc:sldMkLst>
        <pc:picChg chg="add">
          <ac:chgData name="Cyrille Scuri" userId="0ff3ad52-7312-41f1-b45c-1187e0d5d8d9" providerId="ADAL" clId="{D295DB46-1D78-470C-92CC-0D5F3AD21CF6}" dt="2022-09-07T14:05:48.189" v="2461" actId="22"/>
          <ac:picMkLst>
            <pc:docMk/>
            <pc:sldMk cId="2804712495" sldId="2147469359"/>
            <ac:picMk id="3" creationId="{48823CB1-0E37-5BCD-2170-6D1D98D2B752}"/>
          </ac:picMkLst>
        </pc:picChg>
      </pc:sldChg>
      <pc:sldChg chg="addSp add del mod">
        <pc:chgData name="Cyrille Scuri" userId="0ff3ad52-7312-41f1-b45c-1187e0d5d8d9" providerId="ADAL" clId="{D295DB46-1D78-470C-92CC-0D5F3AD21CF6}" dt="2022-09-07T14:57:09.964" v="2506" actId="47"/>
        <pc:sldMkLst>
          <pc:docMk/>
          <pc:sldMk cId="3758321935" sldId="2147469360"/>
        </pc:sldMkLst>
        <pc:picChg chg="add">
          <ac:chgData name="Cyrille Scuri" userId="0ff3ad52-7312-41f1-b45c-1187e0d5d8d9" providerId="ADAL" clId="{D295DB46-1D78-470C-92CC-0D5F3AD21CF6}" dt="2022-09-07T14:06:03.281" v="2463" actId="22"/>
          <ac:picMkLst>
            <pc:docMk/>
            <pc:sldMk cId="3758321935" sldId="2147469360"/>
            <ac:picMk id="3" creationId="{D9C9CEDB-69D5-6D7F-25C2-606C74D0300B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28:24.065" v="2912" actId="14100"/>
        <pc:sldMkLst>
          <pc:docMk/>
          <pc:sldMk cId="1476193251" sldId="2147469361"/>
        </pc:sldMkLst>
        <pc:picChg chg="add mod modCrop">
          <ac:chgData name="Cyrille Scuri" userId="0ff3ad52-7312-41f1-b45c-1187e0d5d8d9" providerId="ADAL" clId="{D295DB46-1D78-470C-92CC-0D5F3AD21CF6}" dt="2022-09-07T15:28:24.065" v="2912" actId="14100"/>
          <ac:picMkLst>
            <pc:docMk/>
            <pc:sldMk cId="1476193251" sldId="2147469361"/>
            <ac:picMk id="3" creationId="{4BBEC855-6EC3-E1D5-FCE2-418D51EC57FD}"/>
          </ac:picMkLst>
        </pc:picChg>
      </pc:sldChg>
      <pc:sldChg chg="addSp add del mod">
        <pc:chgData name="Cyrille Scuri" userId="0ff3ad52-7312-41f1-b45c-1187e0d5d8d9" providerId="ADAL" clId="{D295DB46-1D78-470C-92CC-0D5F3AD21CF6}" dt="2022-09-07T15:01:42.343" v="2562" actId="47"/>
        <pc:sldMkLst>
          <pc:docMk/>
          <pc:sldMk cId="1799871959" sldId="2147469362"/>
        </pc:sldMkLst>
        <pc:picChg chg="add">
          <ac:chgData name="Cyrille Scuri" userId="0ff3ad52-7312-41f1-b45c-1187e0d5d8d9" providerId="ADAL" clId="{D295DB46-1D78-470C-92CC-0D5F3AD21CF6}" dt="2022-09-07T14:06:23.186" v="2467" actId="22"/>
          <ac:picMkLst>
            <pc:docMk/>
            <pc:sldMk cId="1799871959" sldId="2147469362"/>
            <ac:picMk id="3" creationId="{B6300937-15EB-109F-5254-8F3D35F04997}"/>
          </ac:picMkLst>
        </pc:picChg>
      </pc:sldChg>
      <pc:sldChg chg="addSp modSp add del mod ord modTransition">
        <pc:chgData name="Cyrille Scuri" userId="0ff3ad52-7312-41f1-b45c-1187e0d5d8d9" providerId="ADAL" clId="{D295DB46-1D78-470C-92CC-0D5F3AD21CF6}" dt="2022-09-08T14:09:17.557" v="4990" actId="47"/>
        <pc:sldMkLst>
          <pc:docMk/>
          <pc:sldMk cId="2875197845" sldId="2147469363"/>
        </pc:sldMkLst>
        <pc:picChg chg="add mod modCrop">
          <ac:chgData name="Cyrille Scuri" userId="0ff3ad52-7312-41f1-b45c-1187e0d5d8d9" providerId="ADAL" clId="{D295DB46-1D78-470C-92CC-0D5F3AD21CF6}" dt="2022-09-07T15:30:12.757" v="2932" actId="14100"/>
          <ac:picMkLst>
            <pc:docMk/>
            <pc:sldMk cId="2875197845" sldId="2147469363"/>
            <ac:picMk id="3" creationId="{83A90A1D-9DC3-0BA1-7CC0-415429FFC552}"/>
          </ac:picMkLst>
        </pc:picChg>
      </pc:sldChg>
      <pc:sldChg chg="addSp add del mod modTransition">
        <pc:chgData name="Cyrille Scuri" userId="0ff3ad52-7312-41f1-b45c-1187e0d5d8d9" providerId="ADAL" clId="{D295DB46-1D78-470C-92CC-0D5F3AD21CF6}" dt="2022-09-07T15:29:24.311" v="2922" actId="47"/>
        <pc:sldMkLst>
          <pc:docMk/>
          <pc:sldMk cId="4178560239" sldId="2147469364"/>
        </pc:sldMkLst>
        <pc:picChg chg="add">
          <ac:chgData name="Cyrille Scuri" userId="0ff3ad52-7312-41f1-b45c-1187e0d5d8d9" providerId="ADAL" clId="{D295DB46-1D78-470C-92CC-0D5F3AD21CF6}" dt="2022-09-07T14:06:37.510" v="2471" actId="22"/>
          <ac:picMkLst>
            <pc:docMk/>
            <pc:sldMk cId="4178560239" sldId="2147469364"/>
            <ac:picMk id="3" creationId="{386589D9-5735-1E2C-900A-BBC2975673FE}"/>
          </ac:picMkLst>
        </pc:picChg>
      </pc:sldChg>
      <pc:sldChg chg="addSp add del mod">
        <pc:chgData name="Cyrille Scuri" userId="0ff3ad52-7312-41f1-b45c-1187e0d5d8d9" providerId="ADAL" clId="{D295DB46-1D78-470C-92CC-0D5F3AD21CF6}" dt="2022-09-07T15:01:54.452" v="2563" actId="47"/>
        <pc:sldMkLst>
          <pc:docMk/>
          <pc:sldMk cId="3434695342" sldId="2147469365"/>
        </pc:sldMkLst>
        <pc:picChg chg="add">
          <ac:chgData name="Cyrille Scuri" userId="0ff3ad52-7312-41f1-b45c-1187e0d5d8d9" providerId="ADAL" clId="{D295DB46-1D78-470C-92CC-0D5F3AD21CF6}" dt="2022-09-07T14:06:48.550" v="2473" actId="22"/>
          <ac:picMkLst>
            <pc:docMk/>
            <pc:sldMk cId="3434695342" sldId="2147469365"/>
            <ac:picMk id="3" creationId="{837974F9-DFA2-C38E-C99A-60B9B2BB921B}"/>
          </ac:picMkLst>
        </pc:picChg>
      </pc:sldChg>
      <pc:sldChg chg="addSp add del mod">
        <pc:chgData name="Cyrille Scuri" userId="0ff3ad52-7312-41f1-b45c-1187e0d5d8d9" providerId="ADAL" clId="{D295DB46-1D78-470C-92CC-0D5F3AD21CF6}" dt="2022-09-07T14:36:47.270" v="2502" actId="47"/>
        <pc:sldMkLst>
          <pc:docMk/>
          <pc:sldMk cId="2600774242" sldId="2147469366"/>
        </pc:sldMkLst>
        <pc:picChg chg="add">
          <ac:chgData name="Cyrille Scuri" userId="0ff3ad52-7312-41f1-b45c-1187e0d5d8d9" providerId="ADAL" clId="{D295DB46-1D78-470C-92CC-0D5F3AD21CF6}" dt="2022-09-07T14:06:55.581" v="2475" actId="22"/>
          <ac:picMkLst>
            <pc:docMk/>
            <pc:sldMk cId="2600774242" sldId="2147469366"/>
            <ac:picMk id="3" creationId="{70896123-A101-34BB-E490-B1AECAED3870}"/>
          </ac:picMkLst>
        </pc:picChg>
      </pc:sldChg>
      <pc:sldChg chg="addSp modSp add mod ord modTransition">
        <pc:chgData name="Cyrille Scuri" userId="0ff3ad52-7312-41f1-b45c-1187e0d5d8d9" providerId="ADAL" clId="{D295DB46-1D78-470C-92CC-0D5F3AD21CF6}" dt="2022-09-07T15:30:49.170" v="2939" actId="14100"/>
        <pc:sldMkLst>
          <pc:docMk/>
          <pc:sldMk cId="2921631058" sldId="2147469367"/>
        </pc:sldMkLst>
        <pc:picChg chg="add mod modCrop">
          <ac:chgData name="Cyrille Scuri" userId="0ff3ad52-7312-41f1-b45c-1187e0d5d8d9" providerId="ADAL" clId="{D295DB46-1D78-470C-92CC-0D5F3AD21CF6}" dt="2022-09-07T15:30:49.170" v="2939" actId="14100"/>
          <ac:picMkLst>
            <pc:docMk/>
            <pc:sldMk cId="2921631058" sldId="2147469367"/>
            <ac:picMk id="3" creationId="{22474013-A840-1001-5962-26689184869E}"/>
          </ac:picMkLst>
        </pc:picChg>
      </pc:sldChg>
      <pc:sldChg chg="addSp add del mod">
        <pc:chgData name="Cyrille Scuri" userId="0ff3ad52-7312-41f1-b45c-1187e0d5d8d9" providerId="ADAL" clId="{D295DB46-1D78-470C-92CC-0D5F3AD21CF6}" dt="2022-09-07T14:36:26.860" v="2500" actId="47"/>
        <pc:sldMkLst>
          <pc:docMk/>
          <pc:sldMk cId="638056736" sldId="2147469368"/>
        </pc:sldMkLst>
        <pc:picChg chg="add">
          <ac:chgData name="Cyrille Scuri" userId="0ff3ad52-7312-41f1-b45c-1187e0d5d8d9" providerId="ADAL" clId="{D295DB46-1D78-470C-92CC-0D5F3AD21CF6}" dt="2022-09-07T14:21:02.432" v="2484" actId="22"/>
          <ac:picMkLst>
            <pc:docMk/>
            <pc:sldMk cId="638056736" sldId="2147469368"/>
            <ac:picMk id="3" creationId="{B00B1ABC-8FC6-100E-113D-7D69446A6678}"/>
          </ac:picMkLst>
        </pc:picChg>
      </pc:sldChg>
      <pc:sldChg chg="add del">
        <pc:chgData name="Cyrille Scuri" userId="0ff3ad52-7312-41f1-b45c-1187e0d5d8d9" providerId="ADAL" clId="{D295DB46-1D78-470C-92CC-0D5F3AD21CF6}" dt="2022-09-07T14:05:29.750" v="2456"/>
        <pc:sldMkLst>
          <pc:docMk/>
          <pc:sldMk cId="3964231121" sldId="2147469368"/>
        </pc:sldMkLst>
      </pc:sldChg>
      <pc:sldChg chg="addSp add del mod">
        <pc:chgData name="Cyrille Scuri" userId="0ff3ad52-7312-41f1-b45c-1187e0d5d8d9" providerId="ADAL" clId="{D295DB46-1D78-470C-92CC-0D5F3AD21CF6}" dt="2022-09-07T14:36:27.917" v="2501" actId="47"/>
        <pc:sldMkLst>
          <pc:docMk/>
          <pc:sldMk cId="2652806540" sldId="2147469369"/>
        </pc:sldMkLst>
        <pc:picChg chg="add">
          <ac:chgData name="Cyrille Scuri" userId="0ff3ad52-7312-41f1-b45c-1187e0d5d8d9" providerId="ADAL" clId="{D295DB46-1D78-470C-92CC-0D5F3AD21CF6}" dt="2022-09-07T14:21:49.615" v="2485" actId="22"/>
          <ac:picMkLst>
            <pc:docMk/>
            <pc:sldMk cId="2652806540" sldId="2147469369"/>
            <ac:picMk id="3" creationId="{F26ED222-B78A-191F-6268-863FD63E8833}"/>
          </ac:picMkLst>
        </pc:picChg>
      </pc:sldChg>
      <pc:sldChg chg="add del">
        <pc:chgData name="Cyrille Scuri" userId="0ff3ad52-7312-41f1-b45c-1187e0d5d8d9" providerId="ADAL" clId="{D295DB46-1D78-470C-92CC-0D5F3AD21CF6}" dt="2022-09-07T15:02:22.056" v="2565" actId="47"/>
        <pc:sldMkLst>
          <pc:docMk/>
          <pc:sldMk cId="337106402" sldId="2147469370"/>
        </pc:sldMkLst>
      </pc:sldChg>
      <pc:sldChg chg="add del">
        <pc:chgData name="Cyrille Scuri" userId="0ff3ad52-7312-41f1-b45c-1187e0d5d8d9" providerId="ADAL" clId="{D295DB46-1D78-470C-92CC-0D5F3AD21CF6}" dt="2022-09-07T15:02:22.660" v="2566" actId="47"/>
        <pc:sldMkLst>
          <pc:docMk/>
          <pc:sldMk cId="714652860" sldId="2147469371"/>
        </pc:sldMkLst>
      </pc:sldChg>
      <pc:sldChg chg="add del">
        <pc:chgData name="Cyrille Scuri" userId="0ff3ad52-7312-41f1-b45c-1187e0d5d8d9" providerId="ADAL" clId="{D295DB46-1D78-470C-92CC-0D5F3AD21CF6}" dt="2022-09-07T15:02:23.551" v="2567" actId="47"/>
        <pc:sldMkLst>
          <pc:docMk/>
          <pc:sldMk cId="4046886295" sldId="2147469372"/>
        </pc:sldMkLst>
      </pc:sldChg>
      <pc:sldChg chg="addSp delSp modSp add mod ord modTransition">
        <pc:chgData name="Cyrille Scuri" userId="0ff3ad52-7312-41f1-b45c-1187e0d5d8d9" providerId="ADAL" clId="{D295DB46-1D78-470C-92CC-0D5F3AD21CF6}" dt="2022-09-07T15:55:46.244" v="3338"/>
        <pc:sldMkLst>
          <pc:docMk/>
          <pc:sldMk cId="4123672034" sldId="2147469373"/>
        </pc:sldMkLst>
        <pc:picChg chg="add del mod">
          <ac:chgData name="Cyrille Scuri" userId="0ff3ad52-7312-41f1-b45c-1187e0d5d8d9" providerId="ADAL" clId="{D295DB46-1D78-470C-92CC-0D5F3AD21CF6}" dt="2022-09-07T14:34:27.572" v="2495" actId="478"/>
          <ac:picMkLst>
            <pc:docMk/>
            <pc:sldMk cId="4123672034" sldId="2147469373"/>
            <ac:picMk id="3" creationId="{D1CAFA1E-7437-7DDD-BB18-64AB0B1FF3FC}"/>
          </ac:picMkLst>
        </pc:picChg>
        <pc:picChg chg="add mod modCrop">
          <ac:chgData name="Cyrille Scuri" userId="0ff3ad52-7312-41f1-b45c-1187e0d5d8d9" providerId="ADAL" clId="{D295DB46-1D78-470C-92CC-0D5F3AD21CF6}" dt="2022-09-07T15:25:01.438" v="2853" actId="14100"/>
          <ac:picMkLst>
            <pc:docMk/>
            <pc:sldMk cId="4123672034" sldId="2147469373"/>
            <ac:picMk id="5" creationId="{F3665B91-773B-D490-A00D-ABE0DE34E729}"/>
          </ac:picMkLst>
        </pc:picChg>
      </pc:sldChg>
      <pc:sldChg chg="addSp modSp add mod ord modTransition">
        <pc:chgData name="Cyrille Scuri" userId="0ff3ad52-7312-41f1-b45c-1187e0d5d8d9" providerId="ADAL" clId="{D295DB46-1D78-470C-92CC-0D5F3AD21CF6}" dt="2022-09-07T15:55:46.244" v="3338"/>
        <pc:sldMkLst>
          <pc:docMk/>
          <pc:sldMk cId="3731688269" sldId="2147469374"/>
        </pc:sldMkLst>
        <pc:picChg chg="add mod modCrop">
          <ac:chgData name="Cyrille Scuri" userId="0ff3ad52-7312-41f1-b45c-1187e0d5d8d9" providerId="ADAL" clId="{D295DB46-1D78-470C-92CC-0D5F3AD21CF6}" dt="2022-09-07T15:25:27.448" v="2883" actId="14100"/>
          <ac:picMkLst>
            <pc:docMk/>
            <pc:sldMk cId="3731688269" sldId="2147469374"/>
            <ac:picMk id="3" creationId="{E592AD97-FF16-D3E9-C78D-A0495D94EC2E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7T15:47:53.502" v="2971" actId="14100"/>
        <pc:sldMkLst>
          <pc:docMk/>
          <pc:sldMk cId="1155006733" sldId="2147469375"/>
        </pc:sldMkLst>
        <pc:picChg chg="add del mod">
          <ac:chgData name="Cyrille Scuri" userId="0ff3ad52-7312-41f1-b45c-1187e0d5d8d9" providerId="ADAL" clId="{D295DB46-1D78-470C-92CC-0D5F3AD21CF6}" dt="2022-09-07T14:58:07.778" v="2510" actId="478"/>
          <ac:picMkLst>
            <pc:docMk/>
            <pc:sldMk cId="1155006733" sldId="2147469375"/>
            <ac:picMk id="3" creationId="{3D1E6994-6A75-4059-B39D-57D793889483}"/>
          </ac:picMkLst>
        </pc:picChg>
        <pc:picChg chg="add mod modCrop">
          <ac:chgData name="Cyrille Scuri" userId="0ff3ad52-7312-41f1-b45c-1187e0d5d8d9" providerId="ADAL" clId="{D295DB46-1D78-470C-92CC-0D5F3AD21CF6}" dt="2022-09-07T15:47:53.502" v="2971" actId="14100"/>
          <ac:picMkLst>
            <pc:docMk/>
            <pc:sldMk cId="1155006733" sldId="2147469375"/>
            <ac:picMk id="5" creationId="{E5BB802E-2951-9198-9B9F-F2A86F20134E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48:03.585" v="3007" actId="14100"/>
        <pc:sldMkLst>
          <pc:docMk/>
          <pc:sldMk cId="2599195605" sldId="2147469376"/>
        </pc:sldMkLst>
        <pc:picChg chg="add mod modCrop">
          <ac:chgData name="Cyrille Scuri" userId="0ff3ad52-7312-41f1-b45c-1187e0d5d8d9" providerId="ADAL" clId="{D295DB46-1D78-470C-92CC-0D5F3AD21CF6}" dt="2022-09-07T15:48:03.585" v="3007" actId="14100"/>
          <ac:picMkLst>
            <pc:docMk/>
            <pc:sldMk cId="2599195605" sldId="2147469376"/>
            <ac:picMk id="3" creationId="{0EB2AC40-122F-66D8-D67D-4FC689BC68C5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48:14.811" v="3049" actId="14100"/>
        <pc:sldMkLst>
          <pc:docMk/>
          <pc:sldMk cId="125860915" sldId="2147469377"/>
        </pc:sldMkLst>
        <pc:picChg chg="add mod modCrop">
          <ac:chgData name="Cyrille Scuri" userId="0ff3ad52-7312-41f1-b45c-1187e0d5d8d9" providerId="ADAL" clId="{D295DB46-1D78-470C-92CC-0D5F3AD21CF6}" dt="2022-09-07T15:48:14.811" v="3049" actId="14100"/>
          <ac:picMkLst>
            <pc:docMk/>
            <pc:sldMk cId="125860915" sldId="2147469377"/>
            <ac:picMk id="3" creationId="{69D73691-3AA2-EF52-651A-899EADD731C7}"/>
          </ac:picMkLst>
        </pc:picChg>
      </pc:sldChg>
      <pc:sldChg chg="addSp modSp add del mod modTransition">
        <pc:chgData name="Cyrille Scuri" userId="0ff3ad52-7312-41f1-b45c-1187e0d5d8d9" providerId="ADAL" clId="{D295DB46-1D78-470C-92CC-0D5F3AD21CF6}" dt="2022-09-07T15:56:52.166" v="3340" actId="47"/>
        <pc:sldMkLst>
          <pc:docMk/>
          <pc:sldMk cId="3695236420" sldId="2147469378"/>
        </pc:sldMkLst>
        <pc:picChg chg="add mod modCrop">
          <ac:chgData name="Cyrille Scuri" userId="0ff3ad52-7312-41f1-b45c-1187e0d5d8d9" providerId="ADAL" clId="{D295DB46-1D78-470C-92CC-0D5F3AD21CF6}" dt="2022-09-07T15:48:25.533" v="3082" actId="14100"/>
          <ac:picMkLst>
            <pc:docMk/>
            <pc:sldMk cId="3695236420" sldId="2147469378"/>
            <ac:picMk id="3" creationId="{BD6568A8-9401-E0E6-0DE9-A87129F25AE8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49:11.508" v="3114" actId="14100"/>
        <pc:sldMkLst>
          <pc:docMk/>
          <pc:sldMk cId="3953557396" sldId="2147469379"/>
        </pc:sldMkLst>
        <pc:picChg chg="add mod modCrop">
          <ac:chgData name="Cyrille Scuri" userId="0ff3ad52-7312-41f1-b45c-1187e0d5d8d9" providerId="ADAL" clId="{D295DB46-1D78-470C-92CC-0D5F3AD21CF6}" dt="2022-09-07T15:49:11.508" v="3114" actId="14100"/>
          <ac:picMkLst>
            <pc:docMk/>
            <pc:sldMk cId="3953557396" sldId="2147469379"/>
            <ac:picMk id="3" creationId="{777F7FC4-2A7C-07C8-6DD2-AF48A76C44B9}"/>
          </ac:picMkLst>
        </pc:picChg>
      </pc:sldChg>
      <pc:sldChg chg="addSp modSp add del mod modTransition">
        <pc:chgData name="Cyrille Scuri" userId="0ff3ad52-7312-41f1-b45c-1187e0d5d8d9" providerId="ADAL" clId="{D295DB46-1D78-470C-92CC-0D5F3AD21CF6}" dt="2022-09-07T15:20:43.151" v="2814" actId="47"/>
        <pc:sldMkLst>
          <pc:docMk/>
          <pc:sldMk cId="2295897894" sldId="2147469380"/>
        </pc:sldMkLst>
        <pc:picChg chg="add mod">
          <ac:chgData name="Cyrille Scuri" userId="0ff3ad52-7312-41f1-b45c-1187e0d5d8d9" providerId="ADAL" clId="{D295DB46-1D78-470C-92CC-0D5F3AD21CF6}" dt="2022-09-07T14:59:23.644" v="2538" actId="962"/>
          <ac:picMkLst>
            <pc:docMk/>
            <pc:sldMk cId="2295897894" sldId="2147469380"/>
            <ac:picMk id="3" creationId="{C8C1EE59-5F66-6EDF-50F8-685885B9AB6B}"/>
          </ac:picMkLst>
        </pc:picChg>
      </pc:sldChg>
      <pc:sldChg chg="addSp modSp add del mod modTransition">
        <pc:chgData name="Cyrille Scuri" userId="0ff3ad52-7312-41f1-b45c-1187e0d5d8d9" providerId="ADAL" clId="{D295DB46-1D78-470C-92CC-0D5F3AD21CF6}" dt="2022-09-07T15:56:23.758" v="3339" actId="47"/>
        <pc:sldMkLst>
          <pc:docMk/>
          <pc:sldMk cId="2297872356" sldId="2147469381"/>
        </pc:sldMkLst>
        <pc:picChg chg="add mod modCrop">
          <ac:chgData name="Cyrille Scuri" userId="0ff3ad52-7312-41f1-b45c-1187e0d5d8d9" providerId="ADAL" clId="{D295DB46-1D78-470C-92CC-0D5F3AD21CF6}" dt="2022-09-07T15:49:27.064" v="3154" actId="14100"/>
          <ac:picMkLst>
            <pc:docMk/>
            <pc:sldMk cId="2297872356" sldId="2147469381"/>
            <ac:picMk id="3" creationId="{A1BC2937-8985-87A3-68B1-593B2FCA9E1A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49:42.974" v="3185" actId="14100"/>
        <pc:sldMkLst>
          <pc:docMk/>
          <pc:sldMk cId="3309534112" sldId="2147469382"/>
        </pc:sldMkLst>
        <pc:picChg chg="add mod modCrop">
          <ac:chgData name="Cyrille Scuri" userId="0ff3ad52-7312-41f1-b45c-1187e0d5d8d9" providerId="ADAL" clId="{D295DB46-1D78-470C-92CC-0D5F3AD21CF6}" dt="2022-09-07T15:49:42.974" v="3185" actId="14100"/>
          <ac:picMkLst>
            <pc:docMk/>
            <pc:sldMk cId="3309534112" sldId="2147469382"/>
            <ac:picMk id="3" creationId="{1F033447-C1E0-6991-9F26-2AE129FD5D0B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49:52.109" v="3210" actId="14100"/>
        <pc:sldMkLst>
          <pc:docMk/>
          <pc:sldMk cId="1006594461" sldId="2147469383"/>
        </pc:sldMkLst>
        <pc:picChg chg="add mod modCrop">
          <ac:chgData name="Cyrille Scuri" userId="0ff3ad52-7312-41f1-b45c-1187e0d5d8d9" providerId="ADAL" clId="{D295DB46-1D78-470C-92CC-0D5F3AD21CF6}" dt="2022-09-07T15:49:52.109" v="3210" actId="14100"/>
          <ac:picMkLst>
            <pc:docMk/>
            <pc:sldMk cId="1006594461" sldId="2147469383"/>
            <ac:picMk id="3" creationId="{CACB7A6E-FD2F-259E-CBDD-1678641A3E47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50:00.299" v="3241" actId="14100"/>
        <pc:sldMkLst>
          <pc:docMk/>
          <pc:sldMk cId="732975628" sldId="2147469384"/>
        </pc:sldMkLst>
        <pc:picChg chg="add mod modCrop">
          <ac:chgData name="Cyrille Scuri" userId="0ff3ad52-7312-41f1-b45c-1187e0d5d8d9" providerId="ADAL" clId="{D295DB46-1D78-470C-92CC-0D5F3AD21CF6}" dt="2022-09-07T15:50:00.299" v="3241" actId="14100"/>
          <ac:picMkLst>
            <pc:docMk/>
            <pc:sldMk cId="732975628" sldId="2147469384"/>
            <ac:picMk id="3" creationId="{F7A326DA-E370-3CEB-830A-E4265DC7FD36}"/>
          </ac:picMkLst>
        </pc:picChg>
      </pc:sldChg>
      <pc:sldChg chg="addSp modSp add mod modTransition">
        <pc:chgData name="Cyrille Scuri" userId="0ff3ad52-7312-41f1-b45c-1187e0d5d8d9" providerId="ADAL" clId="{D295DB46-1D78-470C-92CC-0D5F3AD21CF6}" dt="2022-09-07T15:50:10.431" v="3270" actId="14100"/>
        <pc:sldMkLst>
          <pc:docMk/>
          <pc:sldMk cId="802833557" sldId="2147469385"/>
        </pc:sldMkLst>
        <pc:picChg chg="add mod modCrop">
          <ac:chgData name="Cyrille Scuri" userId="0ff3ad52-7312-41f1-b45c-1187e0d5d8d9" providerId="ADAL" clId="{D295DB46-1D78-470C-92CC-0D5F3AD21CF6}" dt="2022-09-07T15:50:10.431" v="3270" actId="14100"/>
          <ac:picMkLst>
            <pc:docMk/>
            <pc:sldMk cId="802833557" sldId="2147469385"/>
            <ac:picMk id="3" creationId="{908F0088-2923-2522-6292-F55EE89C7F62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7T16:10:06.527" v="3385" actId="14100"/>
        <pc:sldMkLst>
          <pc:docMk/>
          <pc:sldMk cId="1733454301" sldId="2147469386"/>
        </pc:sldMkLst>
        <pc:picChg chg="add del mod modCrop">
          <ac:chgData name="Cyrille Scuri" userId="0ff3ad52-7312-41f1-b45c-1187e0d5d8d9" providerId="ADAL" clId="{D295DB46-1D78-470C-92CC-0D5F3AD21CF6}" dt="2022-09-07T16:08:39.317" v="3341" actId="478"/>
          <ac:picMkLst>
            <pc:docMk/>
            <pc:sldMk cId="1733454301" sldId="2147469386"/>
            <ac:picMk id="3" creationId="{0DC498BB-439D-79A9-CCBF-842B22D5E091}"/>
          </ac:picMkLst>
        </pc:picChg>
        <pc:picChg chg="add mod modCrop">
          <ac:chgData name="Cyrille Scuri" userId="0ff3ad52-7312-41f1-b45c-1187e0d5d8d9" providerId="ADAL" clId="{D295DB46-1D78-470C-92CC-0D5F3AD21CF6}" dt="2022-09-07T16:10:06.527" v="3385" actId="14100"/>
          <ac:picMkLst>
            <pc:docMk/>
            <pc:sldMk cId="1733454301" sldId="2147469386"/>
            <ac:picMk id="4" creationId="{30B77C48-F66A-2ABD-3D59-36CE8C57DDEF}"/>
          </ac:picMkLst>
        </pc:picChg>
      </pc:sldChg>
      <pc:sldChg chg="addSp delSp modSp add mod modTransition">
        <pc:chgData name="Cyrille Scuri" userId="0ff3ad52-7312-41f1-b45c-1187e0d5d8d9" providerId="ADAL" clId="{D295DB46-1D78-470C-92CC-0D5F3AD21CF6}" dt="2022-09-07T16:10:28.090" v="3416" actId="14100"/>
        <pc:sldMkLst>
          <pc:docMk/>
          <pc:sldMk cId="3532240099" sldId="2147469387"/>
        </pc:sldMkLst>
        <pc:picChg chg="add del mod modCrop">
          <ac:chgData name="Cyrille Scuri" userId="0ff3ad52-7312-41f1-b45c-1187e0d5d8d9" providerId="ADAL" clId="{D295DB46-1D78-470C-92CC-0D5F3AD21CF6}" dt="2022-09-07T16:09:42.603" v="3343" actId="478"/>
          <ac:picMkLst>
            <pc:docMk/>
            <pc:sldMk cId="3532240099" sldId="2147469387"/>
            <ac:picMk id="3" creationId="{2EDA917B-90FA-8586-FDE0-FFC5755081BD}"/>
          </ac:picMkLst>
        </pc:picChg>
        <pc:picChg chg="add mod modCrop">
          <ac:chgData name="Cyrille Scuri" userId="0ff3ad52-7312-41f1-b45c-1187e0d5d8d9" providerId="ADAL" clId="{D295DB46-1D78-470C-92CC-0D5F3AD21CF6}" dt="2022-09-07T16:10:28.090" v="3416" actId="14100"/>
          <ac:picMkLst>
            <pc:docMk/>
            <pc:sldMk cId="3532240099" sldId="2147469387"/>
            <ac:picMk id="4" creationId="{E117A1CB-CD13-5753-5B01-47AF3B984FE3}"/>
          </ac:picMkLst>
        </pc:picChg>
      </pc:sldChg>
      <pc:sldChg chg="add del">
        <pc:chgData name="Cyrille Scuri" userId="0ff3ad52-7312-41f1-b45c-1187e0d5d8d9" providerId="ADAL" clId="{D295DB46-1D78-470C-92CC-0D5F3AD21CF6}" dt="2022-09-07T15:00:42.432" v="2560" actId="47"/>
        <pc:sldMkLst>
          <pc:docMk/>
          <pc:sldMk cId="47340985" sldId="2147469388"/>
        </pc:sldMkLst>
      </pc:sldChg>
      <pc:sldChg chg="modSp add mod modTransition">
        <pc:chgData name="Cyrille Scuri" userId="0ff3ad52-7312-41f1-b45c-1187e0d5d8d9" providerId="ADAL" clId="{D295DB46-1D78-470C-92CC-0D5F3AD21CF6}" dt="2022-09-07T15:28:54.224" v="2917" actId="14100"/>
        <pc:sldMkLst>
          <pc:docMk/>
          <pc:sldMk cId="2557336064" sldId="2147469388"/>
        </pc:sldMkLst>
        <pc:picChg chg="mod modCrop">
          <ac:chgData name="Cyrille Scuri" userId="0ff3ad52-7312-41f1-b45c-1187e0d5d8d9" providerId="ADAL" clId="{D295DB46-1D78-470C-92CC-0D5F3AD21CF6}" dt="2022-09-07T15:28:54.224" v="2917" actId="14100"/>
          <ac:picMkLst>
            <pc:docMk/>
            <pc:sldMk cId="2557336064" sldId="2147469388"/>
            <ac:picMk id="3" creationId="{837974F9-DFA2-C38E-C99A-60B9B2BB921B}"/>
          </ac:picMkLst>
        </pc:picChg>
      </pc:sldChg>
      <pc:sldChg chg="delSp add mod modTransition delAnim">
        <pc:chgData name="Cyrille Scuri" userId="0ff3ad52-7312-41f1-b45c-1187e0d5d8d9" providerId="ADAL" clId="{D295DB46-1D78-470C-92CC-0D5F3AD21CF6}" dt="2022-09-07T15:06:23.212" v="2643"/>
        <pc:sldMkLst>
          <pc:docMk/>
          <pc:sldMk cId="3089943089" sldId="2147469389"/>
        </pc:sldMkLst>
        <pc:spChg chg="del">
          <ac:chgData name="Cyrille Scuri" userId="0ff3ad52-7312-41f1-b45c-1187e0d5d8d9" providerId="ADAL" clId="{D295DB46-1D78-470C-92CC-0D5F3AD21CF6}" dt="2022-09-07T15:05:06.987" v="2623" actId="478"/>
          <ac:spMkLst>
            <pc:docMk/>
            <pc:sldMk cId="3089943089" sldId="2147469389"/>
            <ac:spMk id="19" creationId="{5495507B-9698-E4B2-B4C7-9A71302C6479}"/>
          </ac:spMkLst>
        </pc:spChg>
        <pc:spChg chg="del">
          <ac:chgData name="Cyrille Scuri" userId="0ff3ad52-7312-41f1-b45c-1187e0d5d8d9" providerId="ADAL" clId="{D295DB46-1D78-470C-92CC-0D5F3AD21CF6}" dt="2022-09-07T15:05:09.377" v="2625" actId="478"/>
          <ac:spMkLst>
            <pc:docMk/>
            <pc:sldMk cId="3089943089" sldId="2147469389"/>
            <ac:spMk id="21" creationId="{20C9DAB5-BD77-BE4C-9769-B08A40658135}"/>
          </ac:spMkLst>
        </pc:spChg>
        <pc:spChg chg="del">
          <ac:chgData name="Cyrille Scuri" userId="0ff3ad52-7312-41f1-b45c-1187e0d5d8d9" providerId="ADAL" clId="{D295DB46-1D78-470C-92CC-0D5F3AD21CF6}" dt="2022-09-07T15:04:54.559" v="2620" actId="478"/>
          <ac:spMkLst>
            <pc:docMk/>
            <pc:sldMk cId="3089943089" sldId="2147469389"/>
            <ac:spMk id="22" creationId="{07D49F20-7A49-C178-58FD-47859236C5CF}"/>
          </ac:spMkLst>
        </pc:spChg>
        <pc:spChg chg="del">
          <ac:chgData name="Cyrille Scuri" userId="0ff3ad52-7312-41f1-b45c-1187e0d5d8d9" providerId="ADAL" clId="{D295DB46-1D78-470C-92CC-0D5F3AD21CF6}" dt="2022-09-07T15:05:08.673" v="2624" actId="478"/>
          <ac:spMkLst>
            <pc:docMk/>
            <pc:sldMk cId="3089943089" sldId="2147469389"/>
            <ac:spMk id="23" creationId="{1B26628E-70BB-7308-18D1-2D94052BFFFC}"/>
          </ac:spMkLst>
        </pc:spChg>
        <pc:picChg chg="del">
          <ac:chgData name="Cyrille Scuri" userId="0ff3ad52-7312-41f1-b45c-1187e0d5d8d9" providerId="ADAL" clId="{D295DB46-1D78-470C-92CC-0D5F3AD21CF6}" dt="2022-09-07T15:04:55.249" v="2621" actId="478"/>
          <ac:picMkLst>
            <pc:docMk/>
            <pc:sldMk cId="3089943089" sldId="2147469389"/>
            <ac:picMk id="28" creationId="{CC3A894F-1718-6679-AE41-09EDF811F107}"/>
          </ac:picMkLst>
        </pc:picChg>
        <pc:picChg chg="del">
          <ac:chgData name="Cyrille Scuri" userId="0ff3ad52-7312-41f1-b45c-1187e0d5d8d9" providerId="ADAL" clId="{D295DB46-1D78-470C-92CC-0D5F3AD21CF6}" dt="2022-09-07T15:05:04.636" v="2622" actId="478"/>
          <ac:picMkLst>
            <pc:docMk/>
            <pc:sldMk cId="3089943089" sldId="2147469389"/>
            <ac:picMk id="29" creationId="{99E966AF-2C78-3C7F-36A5-345F95BFC77B}"/>
          </ac:picMkLst>
        </pc:picChg>
      </pc:sldChg>
      <pc:sldChg chg="delSp add mod modTransition delAnim modAnim">
        <pc:chgData name="Cyrille Scuri" userId="0ff3ad52-7312-41f1-b45c-1187e0d5d8d9" providerId="ADAL" clId="{D295DB46-1D78-470C-92CC-0D5F3AD21CF6}" dt="2022-09-07T15:13:06.107" v="2667"/>
        <pc:sldMkLst>
          <pc:docMk/>
          <pc:sldMk cId="2040378997" sldId="2147469390"/>
        </pc:sldMkLst>
        <pc:spChg chg="del">
          <ac:chgData name="Cyrille Scuri" userId="0ff3ad52-7312-41f1-b45c-1187e0d5d8d9" providerId="ADAL" clId="{D295DB46-1D78-470C-92CC-0D5F3AD21CF6}" dt="2022-09-07T15:05:34.912" v="2629" actId="478"/>
          <ac:spMkLst>
            <pc:docMk/>
            <pc:sldMk cId="2040378997" sldId="2147469390"/>
            <ac:spMk id="19" creationId="{5495507B-9698-E4B2-B4C7-9A71302C6479}"/>
          </ac:spMkLst>
        </pc:spChg>
        <pc:spChg chg="del">
          <ac:chgData name="Cyrille Scuri" userId="0ff3ad52-7312-41f1-b45c-1187e0d5d8d9" providerId="ADAL" clId="{D295DB46-1D78-470C-92CC-0D5F3AD21CF6}" dt="2022-09-07T15:05:37.092" v="2631" actId="478"/>
          <ac:spMkLst>
            <pc:docMk/>
            <pc:sldMk cId="2040378997" sldId="2147469390"/>
            <ac:spMk id="21" creationId="{20C9DAB5-BD77-BE4C-9769-B08A40658135}"/>
          </ac:spMkLst>
        </pc:spChg>
        <pc:spChg chg="del">
          <ac:chgData name="Cyrille Scuri" userId="0ff3ad52-7312-41f1-b45c-1187e0d5d8d9" providerId="ADAL" clId="{D295DB46-1D78-470C-92CC-0D5F3AD21CF6}" dt="2022-09-07T15:05:36.192" v="2630" actId="478"/>
          <ac:spMkLst>
            <pc:docMk/>
            <pc:sldMk cId="2040378997" sldId="2147469390"/>
            <ac:spMk id="23" creationId="{1B26628E-70BB-7308-18D1-2D94052BFFFC}"/>
          </ac:spMkLst>
        </pc:spChg>
        <pc:picChg chg="del">
          <ac:chgData name="Cyrille Scuri" userId="0ff3ad52-7312-41f1-b45c-1187e0d5d8d9" providerId="ADAL" clId="{D295DB46-1D78-470C-92CC-0D5F3AD21CF6}" dt="2022-09-07T15:05:34.200" v="2628" actId="478"/>
          <ac:picMkLst>
            <pc:docMk/>
            <pc:sldMk cId="2040378997" sldId="2147469390"/>
            <ac:picMk id="29" creationId="{99E966AF-2C78-3C7F-36A5-345F95BFC77B}"/>
          </ac:picMkLst>
        </pc:picChg>
      </pc:sldChg>
      <pc:sldChg chg="delSp add mod modTransition delAnim modAnim">
        <pc:chgData name="Cyrille Scuri" userId="0ff3ad52-7312-41f1-b45c-1187e0d5d8d9" providerId="ADAL" clId="{D295DB46-1D78-470C-92CC-0D5F3AD21CF6}" dt="2022-09-07T15:06:23.212" v="2643"/>
        <pc:sldMkLst>
          <pc:docMk/>
          <pc:sldMk cId="814208224" sldId="2147469391"/>
        </pc:sldMkLst>
        <pc:spChg chg="del">
          <ac:chgData name="Cyrille Scuri" userId="0ff3ad52-7312-41f1-b45c-1187e0d5d8d9" providerId="ADAL" clId="{D295DB46-1D78-470C-92CC-0D5F3AD21CF6}" dt="2022-09-07T15:06:01.701" v="2638" actId="478"/>
          <ac:spMkLst>
            <pc:docMk/>
            <pc:sldMk cId="814208224" sldId="2147469391"/>
            <ac:spMk id="21" creationId="{20C9DAB5-BD77-BE4C-9769-B08A40658135}"/>
          </ac:spMkLst>
        </pc:spChg>
        <pc:spChg chg="del">
          <ac:chgData name="Cyrille Scuri" userId="0ff3ad52-7312-41f1-b45c-1187e0d5d8d9" providerId="ADAL" clId="{D295DB46-1D78-470C-92CC-0D5F3AD21CF6}" dt="2022-09-07T15:06:01.215" v="2637" actId="478"/>
          <ac:spMkLst>
            <pc:docMk/>
            <pc:sldMk cId="814208224" sldId="2147469391"/>
            <ac:spMk id="23" creationId="{1B26628E-70BB-7308-18D1-2D94052BFFFC}"/>
          </ac:spMkLst>
        </pc:spChg>
      </pc:sldChg>
      <pc:sldChg chg="addSp delSp modSp add mod">
        <pc:chgData name="Cyrille Scuri" userId="0ff3ad52-7312-41f1-b45c-1187e0d5d8d9" providerId="ADAL" clId="{D295DB46-1D78-470C-92CC-0D5F3AD21CF6}" dt="2022-09-07T15:11:19.605" v="2664" actId="14100"/>
        <pc:sldMkLst>
          <pc:docMk/>
          <pc:sldMk cId="363868633" sldId="2147469392"/>
        </pc:sldMkLst>
        <pc:picChg chg="del">
          <ac:chgData name="Cyrille Scuri" userId="0ff3ad52-7312-41f1-b45c-1187e0d5d8d9" providerId="ADAL" clId="{D295DB46-1D78-470C-92CC-0D5F3AD21CF6}" dt="2022-09-07T15:10:59.117" v="2648" actId="478"/>
          <ac:picMkLst>
            <pc:docMk/>
            <pc:sldMk cId="363868633" sldId="2147469392"/>
            <ac:picMk id="3" creationId="{77242F8C-4607-8453-85B9-1423FB4F9770}"/>
          </ac:picMkLst>
        </pc:picChg>
        <pc:picChg chg="add mod">
          <ac:chgData name="Cyrille Scuri" userId="0ff3ad52-7312-41f1-b45c-1187e0d5d8d9" providerId="ADAL" clId="{D295DB46-1D78-470C-92CC-0D5F3AD21CF6}" dt="2022-09-07T15:11:19.605" v="2664" actId="14100"/>
          <ac:picMkLst>
            <pc:docMk/>
            <pc:sldMk cId="363868633" sldId="2147469392"/>
            <ac:picMk id="4" creationId="{99B072CF-963C-E2DC-C3A9-28B639D91719}"/>
          </ac:picMkLst>
        </pc:picChg>
      </pc:sldChg>
      <pc:sldChg chg="addSp delSp modSp add mod modAnim">
        <pc:chgData name="Cyrille Scuri" userId="0ff3ad52-7312-41f1-b45c-1187e0d5d8d9" providerId="ADAL" clId="{D295DB46-1D78-470C-92CC-0D5F3AD21CF6}" dt="2022-09-08T14:33:12.320" v="5160"/>
        <pc:sldMkLst>
          <pc:docMk/>
          <pc:sldMk cId="673188069" sldId="2147469393"/>
        </pc:sldMkLst>
        <pc:spChg chg="add mod">
          <ac:chgData name="Cyrille Scuri" userId="0ff3ad52-7312-41f1-b45c-1187e0d5d8d9" providerId="ADAL" clId="{D295DB46-1D78-470C-92CC-0D5F3AD21CF6}" dt="2022-09-08T14:31:50.612" v="5142" actId="1076"/>
          <ac:spMkLst>
            <pc:docMk/>
            <pc:sldMk cId="673188069" sldId="2147469393"/>
            <ac:spMk id="2" creationId="{8569E0E1-297E-D303-B4F7-050C32608D72}"/>
          </ac:spMkLst>
        </pc:spChg>
        <pc:spChg chg="add mod">
          <ac:chgData name="Cyrille Scuri" userId="0ff3ad52-7312-41f1-b45c-1187e0d5d8d9" providerId="ADAL" clId="{D295DB46-1D78-470C-92CC-0D5F3AD21CF6}" dt="2022-09-08T14:31:54.472" v="5144" actId="1076"/>
          <ac:spMkLst>
            <pc:docMk/>
            <pc:sldMk cId="673188069" sldId="2147469393"/>
            <ac:spMk id="4" creationId="{5EEC781F-7FEC-E160-9DA4-33F354B60C8F}"/>
          </ac:spMkLst>
        </pc:spChg>
        <pc:spChg chg="add">
          <ac:chgData name="Cyrille Scuri" userId="0ff3ad52-7312-41f1-b45c-1187e0d5d8d9" providerId="ADAL" clId="{D295DB46-1D78-470C-92CC-0D5F3AD21CF6}" dt="2022-09-08T12:25:21.422" v="3638" actId="22"/>
          <ac:spMkLst>
            <pc:docMk/>
            <pc:sldMk cId="673188069" sldId="2147469393"/>
            <ac:spMk id="5" creationId="{380636EF-D27C-3B7A-AC8F-7C2E71A1A92B}"/>
          </ac:spMkLst>
        </pc:spChg>
        <pc:spChg chg="add mod">
          <ac:chgData name="Cyrille Scuri" userId="0ff3ad52-7312-41f1-b45c-1187e0d5d8d9" providerId="ADAL" clId="{D295DB46-1D78-470C-92CC-0D5F3AD21CF6}" dt="2022-09-08T14:31:59.290" v="5146" actId="1076"/>
          <ac:spMkLst>
            <pc:docMk/>
            <pc:sldMk cId="673188069" sldId="2147469393"/>
            <ac:spMk id="6" creationId="{EF629476-8CAA-FDB4-653F-14EB325FA811}"/>
          </ac:spMkLst>
        </pc:spChg>
        <pc:spChg chg="mod">
          <ac:chgData name="Cyrille Scuri" userId="0ff3ad52-7312-41f1-b45c-1187e0d5d8d9" providerId="ADAL" clId="{D295DB46-1D78-470C-92CC-0D5F3AD21CF6}" dt="2022-09-08T12:27:24.656" v="3654" actId="20577"/>
          <ac:spMkLst>
            <pc:docMk/>
            <pc:sldMk cId="673188069" sldId="2147469393"/>
            <ac:spMk id="7" creationId="{16F7A73D-CAD3-1336-44DA-FB2C2BAEFAFA}"/>
          </ac:spMkLst>
        </pc:spChg>
        <pc:spChg chg="add mod">
          <ac:chgData name="Cyrille Scuri" userId="0ff3ad52-7312-41f1-b45c-1187e0d5d8d9" providerId="ADAL" clId="{D295DB46-1D78-470C-92CC-0D5F3AD21CF6}" dt="2022-09-08T14:32:03.088" v="5148" actId="1076"/>
          <ac:spMkLst>
            <pc:docMk/>
            <pc:sldMk cId="673188069" sldId="2147469393"/>
            <ac:spMk id="14" creationId="{0D008597-0B85-08A4-DD7B-3E2F0CFF766A}"/>
          </ac:spMkLst>
        </pc:spChg>
        <pc:spChg chg="add mod">
          <ac:chgData name="Cyrille Scuri" userId="0ff3ad52-7312-41f1-b45c-1187e0d5d8d9" providerId="ADAL" clId="{D295DB46-1D78-470C-92CC-0D5F3AD21CF6}" dt="2022-09-08T14:32:05.990" v="5150" actId="1076"/>
          <ac:spMkLst>
            <pc:docMk/>
            <pc:sldMk cId="673188069" sldId="2147469393"/>
            <ac:spMk id="15" creationId="{5EC34102-A4E8-89D5-A196-113B39954444}"/>
          </ac:spMkLst>
        </pc:spChg>
        <pc:spChg chg="add mod">
          <ac:chgData name="Cyrille Scuri" userId="0ff3ad52-7312-41f1-b45c-1187e0d5d8d9" providerId="ADAL" clId="{D295DB46-1D78-470C-92CC-0D5F3AD21CF6}" dt="2022-09-08T14:32:13.132" v="5152" actId="1076"/>
          <ac:spMkLst>
            <pc:docMk/>
            <pc:sldMk cId="673188069" sldId="2147469393"/>
            <ac:spMk id="16" creationId="{91793A25-72D4-B8AA-CECF-00BF6CC2519F}"/>
          </ac:spMkLst>
        </pc:spChg>
        <pc:spChg chg="add mod">
          <ac:chgData name="Cyrille Scuri" userId="0ff3ad52-7312-41f1-b45c-1187e0d5d8d9" providerId="ADAL" clId="{D295DB46-1D78-470C-92CC-0D5F3AD21CF6}" dt="2022-09-08T14:32:18.277" v="5154" actId="1076"/>
          <ac:spMkLst>
            <pc:docMk/>
            <pc:sldMk cId="673188069" sldId="2147469393"/>
            <ac:spMk id="17" creationId="{E8AB7FE4-710E-29C9-E04E-3FBE1258065F}"/>
          </ac:spMkLst>
        </pc:spChg>
        <pc:spChg chg="add mod">
          <ac:chgData name="Cyrille Scuri" userId="0ff3ad52-7312-41f1-b45c-1187e0d5d8d9" providerId="ADAL" clId="{D295DB46-1D78-470C-92CC-0D5F3AD21CF6}" dt="2022-09-08T13:03:37.914" v="4785" actId="403"/>
          <ac:spMkLst>
            <pc:docMk/>
            <pc:sldMk cId="673188069" sldId="2147469393"/>
            <ac:spMk id="18" creationId="{3C0F60BA-DFBF-1EC0-2C16-5C914376BADE}"/>
          </ac:spMkLst>
        </pc:spChg>
        <pc:spChg chg="add mod">
          <ac:chgData name="Cyrille Scuri" userId="0ff3ad52-7312-41f1-b45c-1187e0d5d8d9" providerId="ADAL" clId="{D295DB46-1D78-470C-92CC-0D5F3AD21CF6}" dt="2022-09-08T14:32:31.969" v="5156" actId="1076"/>
          <ac:spMkLst>
            <pc:docMk/>
            <pc:sldMk cId="673188069" sldId="2147469393"/>
            <ac:spMk id="19" creationId="{9E4D22C8-4126-370E-DAC5-26667C17EAC4}"/>
          </ac:spMkLst>
        </pc:spChg>
        <pc:spChg chg="del">
          <ac:chgData name="Cyrille Scuri" userId="0ff3ad52-7312-41f1-b45c-1187e0d5d8d9" providerId="ADAL" clId="{D295DB46-1D78-470C-92CC-0D5F3AD21CF6}" dt="2022-09-08T12:33:08.525" v="3704" actId="478"/>
          <ac:spMkLst>
            <pc:docMk/>
            <pc:sldMk cId="673188069" sldId="2147469393"/>
            <ac:spMk id="20" creationId="{46E628D0-DFD0-9912-D8C8-FB692663E1FD}"/>
          </ac:spMkLst>
        </pc:spChg>
        <pc:spChg chg="add mod">
          <ac:chgData name="Cyrille Scuri" userId="0ff3ad52-7312-41f1-b45c-1187e0d5d8d9" providerId="ADAL" clId="{D295DB46-1D78-470C-92CC-0D5F3AD21CF6}" dt="2022-09-08T14:32:37.409" v="5158" actId="1076"/>
          <ac:spMkLst>
            <pc:docMk/>
            <pc:sldMk cId="673188069" sldId="2147469393"/>
            <ac:spMk id="20" creationId="{4FCDF2D6-50D6-A95F-748B-F6DA2FB3BB38}"/>
          </ac:spMkLst>
        </pc:spChg>
        <pc:spChg chg="add mod">
          <ac:chgData name="Cyrille Scuri" userId="0ff3ad52-7312-41f1-b45c-1187e0d5d8d9" providerId="ADAL" clId="{D295DB46-1D78-470C-92CC-0D5F3AD21CF6}" dt="2022-09-08T12:30:16.553" v="3684" actId="688"/>
          <ac:spMkLst>
            <pc:docMk/>
            <pc:sldMk cId="673188069" sldId="2147469393"/>
            <ac:spMk id="21" creationId="{D2C08753-B6A9-5A0F-8B8C-34A546BB6235}"/>
          </ac:spMkLst>
        </pc:spChg>
        <pc:spChg chg="add mod">
          <ac:chgData name="Cyrille Scuri" userId="0ff3ad52-7312-41f1-b45c-1187e0d5d8d9" providerId="ADAL" clId="{D295DB46-1D78-470C-92CC-0D5F3AD21CF6}" dt="2022-09-08T12:30:16.553" v="3684" actId="688"/>
          <ac:spMkLst>
            <pc:docMk/>
            <pc:sldMk cId="673188069" sldId="2147469393"/>
            <ac:spMk id="23" creationId="{AED3C70F-CF6D-4316-4AD1-66C0902850D2}"/>
          </ac:spMkLst>
        </pc:spChg>
        <pc:spChg chg="add mod">
          <ac:chgData name="Cyrille Scuri" userId="0ff3ad52-7312-41f1-b45c-1187e0d5d8d9" providerId="ADAL" clId="{D295DB46-1D78-470C-92CC-0D5F3AD21CF6}" dt="2022-09-08T12:29:18.115" v="3669" actId="1076"/>
          <ac:spMkLst>
            <pc:docMk/>
            <pc:sldMk cId="673188069" sldId="2147469393"/>
            <ac:spMk id="25" creationId="{381C27E4-5C72-0E12-5170-2B49046EE1B3}"/>
          </ac:spMkLst>
        </pc:spChg>
        <pc:spChg chg="add mod">
          <ac:chgData name="Cyrille Scuri" userId="0ff3ad52-7312-41f1-b45c-1187e0d5d8d9" providerId="ADAL" clId="{D295DB46-1D78-470C-92CC-0D5F3AD21CF6}" dt="2022-09-08T12:29:26.632" v="3671" actId="1076"/>
          <ac:spMkLst>
            <pc:docMk/>
            <pc:sldMk cId="673188069" sldId="2147469393"/>
            <ac:spMk id="27" creationId="{148D3EC6-7A94-CF9A-3D67-61C2E0E689BC}"/>
          </ac:spMkLst>
        </pc:spChg>
        <pc:spChg chg="add mod">
          <ac:chgData name="Cyrille Scuri" userId="0ff3ad52-7312-41f1-b45c-1187e0d5d8d9" providerId="ADAL" clId="{D295DB46-1D78-470C-92CC-0D5F3AD21CF6}" dt="2022-09-08T12:29:51.889" v="3678" actId="1076"/>
          <ac:spMkLst>
            <pc:docMk/>
            <pc:sldMk cId="673188069" sldId="2147469393"/>
            <ac:spMk id="29" creationId="{22ABC23E-EE89-9FF1-DBB4-22CDB741354D}"/>
          </ac:spMkLst>
        </pc:spChg>
        <pc:picChg chg="add mod">
          <ac:chgData name="Cyrille Scuri" userId="0ff3ad52-7312-41f1-b45c-1187e0d5d8d9" providerId="ADAL" clId="{D295DB46-1D78-470C-92CC-0D5F3AD21CF6}" dt="2022-09-08T12:33:19.401" v="3719" actId="1036"/>
          <ac:picMkLst>
            <pc:docMk/>
            <pc:sldMk cId="673188069" sldId="2147469393"/>
            <ac:picMk id="3" creationId="{69A19EC9-1A2E-8167-4B73-66698A72E8B0}"/>
          </ac:picMkLst>
        </pc:picChg>
        <pc:picChg chg="add">
          <ac:chgData name="Cyrille Scuri" userId="0ff3ad52-7312-41f1-b45c-1187e0d5d8d9" providerId="ADAL" clId="{D295DB46-1D78-470C-92CC-0D5F3AD21CF6}" dt="2022-09-08T12:25:21.422" v="3638" actId="22"/>
          <ac:picMkLst>
            <pc:docMk/>
            <pc:sldMk cId="673188069" sldId="2147469393"/>
            <ac:picMk id="13" creationId="{152C5442-9362-FF85-1C23-15F3AFA447F1}"/>
          </ac:picMkLst>
        </pc:picChg>
        <pc:picChg chg="del">
          <ac:chgData name="Cyrille Scuri" userId="0ff3ad52-7312-41f1-b45c-1187e0d5d8d9" providerId="ADAL" clId="{D295DB46-1D78-470C-92CC-0D5F3AD21CF6}" dt="2022-09-08T12:22:33.072" v="3595" actId="478"/>
          <ac:picMkLst>
            <pc:docMk/>
            <pc:sldMk cId="673188069" sldId="2147469393"/>
            <ac:picMk id="14" creationId="{147BC089-E0B3-E19A-E533-88178A31AD16}"/>
          </ac:picMkLst>
        </pc:picChg>
        <pc:picChg chg="del">
          <ac:chgData name="Cyrille Scuri" userId="0ff3ad52-7312-41f1-b45c-1187e0d5d8d9" providerId="ADAL" clId="{D295DB46-1D78-470C-92CC-0D5F3AD21CF6}" dt="2022-09-08T12:33:10.379" v="3706" actId="478"/>
          <ac:picMkLst>
            <pc:docMk/>
            <pc:sldMk cId="673188069" sldId="2147469393"/>
            <ac:picMk id="15" creationId="{4A5FD1E6-451F-EFE7-43A7-7606D588AB12}"/>
          </ac:picMkLst>
        </pc:picChg>
        <pc:picChg chg="del">
          <ac:chgData name="Cyrille Scuri" userId="0ff3ad52-7312-41f1-b45c-1187e0d5d8d9" providerId="ADAL" clId="{D295DB46-1D78-470C-92CC-0D5F3AD21CF6}" dt="2022-09-08T12:33:09.480" v="3705" actId="478"/>
          <ac:picMkLst>
            <pc:docMk/>
            <pc:sldMk cId="673188069" sldId="2147469393"/>
            <ac:picMk id="16" creationId="{647333B3-EEA1-776F-23C9-384B70A89463}"/>
          </ac:picMkLst>
        </pc:picChg>
        <pc:picChg chg="del">
          <ac:chgData name="Cyrille Scuri" userId="0ff3ad52-7312-41f1-b45c-1187e0d5d8d9" providerId="ADAL" clId="{D295DB46-1D78-470C-92CC-0D5F3AD21CF6}" dt="2022-09-08T12:33:12.207" v="3708" actId="478"/>
          <ac:picMkLst>
            <pc:docMk/>
            <pc:sldMk cId="673188069" sldId="2147469393"/>
            <ac:picMk id="17" creationId="{0326AEFA-7EA1-9ACD-7D68-6BB63235EB93}"/>
          </ac:picMkLst>
        </pc:picChg>
        <pc:picChg chg="add del mod">
          <ac:chgData name="Cyrille Scuri" userId="0ff3ad52-7312-41f1-b45c-1187e0d5d8d9" providerId="ADAL" clId="{D295DB46-1D78-470C-92CC-0D5F3AD21CF6}" dt="2022-09-08T12:26:00.499" v="3646" actId="478"/>
          <ac:picMkLst>
            <pc:docMk/>
            <pc:sldMk cId="673188069" sldId="2147469393"/>
            <ac:picMk id="19" creationId="{FCE6506A-B384-7369-2C7D-22480EE89537}"/>
          </ac:picMkLst>
        </pc:picChg>
        <pc:picChg chg="add del mod">
          <ac:chgData name="Cyrille Scuri" userId="0ff3ad52-7312-41f1-b45c-1187e0d5d8d9" providerId="ADAL" clId="{D295DB46-1D78-470C-92CC-0D5F3AD21CF6}" dt="2022-09-08T12:23:41.660" v="3610" actId="478"/>
          <ac:picMkLst>
            <pc:docMk/>
            <pc:sldMk cId="673188069" sldId="2147469393"/>
            <ac:picMk id="1026" creationId="{E28DEA4C-EF90-2EC7-933F-EA3ADA06B683}"/>
          </ac:picMkLst>
        </pc:picChg>
      </pc:sldChg>
      <pc:sldChg chg="add del">
        <pc:chgData name="Cyrille Scuri" userId="0ff3ad52-7312-41f1-b45c-1187e0d5d8d9" providerId="ADAL" clId="{D295DB46-1D78-470C-92CC-0D5F3AD21CF6}" dt="2022-09-08T10:56:04.928" v="3514" actId="47"/>
        <pc:sldMkLst>
          <pc:docMk/>
          <pc:sldMk cId="1253157064" sldId="2147469393"/>
        </pc:sldMkLst>
      </pc:sldChg>
      <pc:sldChg chg="add del">
        <pc:chgData name="Cyrille Scuri" userId="0ff3ad52-7312-41f1-b45c-1187e0d5d8d9" providerId="ADAL" clId="{D295DB46-1D78-470C-92CC-0D5F3AD21CF6}" dt="2022-09-08T12:22:35.960" v="3597"/>
        <pc:sldMkLst>
          <pc:docMk/>
          <pc:sldMk cId="959117336" sldId="2147469394"/>
        </pc:sldMkLst>
      </pc:sldChg>
      <pc:sldChg chg="addSp delSp modSp add mod modNotesTx">
        <pc:chgData name="Cyrille Scuri" userId="0ff3ad52-7312-41f1-b45c-1187e0d5d8d9" providerId="ADAL" clId="{D295DB46-1D78-470C-92CC-0D5F3AD21CF6}" dt="2022-09-08T12:56:34.338" v="4736" actId="20577"/>
        <pc:sldMkLst>
          <pc:docMk/>
          <pc:sldMk cId="3917842462" sldId="2147469394"/>
        </pc:sldMkLst>
        <pc:spChg chg="add mod">
          <ac:chgData name="Cyrille Scuri" userId="0ff3ad52-7312-41f1-b45c-1187e0d5d8d9" providerId="ADAL" clId="{D295DB46-1D78-470C-92CC-0D5F3AD21CF6}" dt="2022-09-08T12:51:00.337" v="4723" actId="948"/>
          <ac:spMkLst>
            <pc:docMk/>
            <pc:sldMk cId="3917842462" sldId="2147469394"/>
            <ac:spMk id="3" creationId="{78EBAE30-E469-E059-0051-463D0D0D9985}"/>
          </ac:spMkLst>
        </pc:spChg>
        <pc:spChg chg="del">
          <ac:chgData name="Cyrille Scuri" userId="0ff3ad52-7312-41f1-b45c-1187e0d5d8d9" providerId="ADAL" clId="{D295DB46-1D78-470C-92CC-0D5F3AD21CF6}" dt="2022-09-08T12:35:53.608" v="3722" actId="478"/>
          <ac:spMkLst>
            <pc:docMk/>
            <pc:sldMk cId="3917842462" sldId="2147469394"/>
            <ac:spMk id="87" creationId="{64A7B079-C54D-F3C0-DE72-6082A0251ED2}"/>
          </ac:spMkLst>
        </pc:spChg>
        <pc:spChg chg="mod">
          <ac:chgData name="Cyrille Scuri" userId="0ff3ad52-7312-41f1-b45c-1187e0d5d8d9" providerId="ADAL" clId="{D295DB46-1D78-470C-92CC-0D5F3AD21CF6}" dt="2022-09-08T12:49:46.972" v="4660" actId="1076"/>
          <ac:spMkLst>
            <pc:docMk/>
            <pc:sldMk cId="3917842462" sldId="2147469394"/>
            <ac:spMk id="89" creationId="{347A0B42-D375-51BF-4FD6-DD45858BE0CB}"/>
          </ac:spMkLst>
        </pc:spChg>
        <pc:spChg chg="mod">
          <ac:chgData name="Cyrille Scuri" userId="0ff3ad52-7312-41f1-b45c-1187e0d5d8d9" providerId="ADAL" clId="{D295DB46-1D78-470C-92CC-0D5F3AD21CF6}" dt="2022-09-08T12:50:46.736" v="4721" actId="948"/>
          <ac:spMkLst>
            <pc:docMk/>
            <pc:sldMk cId="3917842462" sldId="2147469394"/>
            <ac:spMk id="90" creationId="{F50886D8-EC34-8FB4-C35F-F832CC5B4C9B}"/>
          </ac:spMkLst>
        </pc:spChg>
        <pc:spChg chg="del">
          <ac:chgData name="Cyrille Scuri" userId="0ff3ad52-7312-41f1-b45c-1187e0d5d8d9" providerId="ADAL" clId="{D295DB46-1D78-470C-92CC-0D5F3AD21CF6}" dt="2022-09-08T12:37:16.391" v="3894" actId="478"/>
          <ac:spMkLst>
            <pc:docMk/>
            <pc:sldMk cId="3917842462" sldId="2147469394"/>
            <ac:spMk id="91" creationId="{23B71B65-CE00-1688-45EC-4401B3DBB535}"/>
          </ac:spMkLst>
        </pc:spChg>
        <pc:spChg chg="mod">
          <ac:chgData name="Cyrille Scuri" userId="0ff3ad52-7312-41f1-b45c-1187e0d5d8d9" providerId="ADAL" clId="{D295DB46-1D78-470C-92CC-0D5F3AD21CF6}" dt="2022-09-08T12:55:21.644" v="4735" actId="20577"/>
          <ac:spMkLst>
            <pc:docMk/>
            <pc:sldMk cId="3917842462" sldId="2147469394"/>
            <ac:spMk id="92" creationId="{647DB194-D391-F274-66D3-0ECCB094DDFD}"/>
          </ac:spMkLst>
        </pc:spChg>
        <pc:spChg chg="del mod">
          <ac:chgData name="Cyrille Scuri" userId="0ff3ad52-7312-41f1-b45c-1187e0d5d8d9" providerId="ADAL" clId="{D295DB46-1D78-470C-92CC-0D5F3AD21CF6}" dt="2022-09-08T12:38:28.570" v="4310" actId="478"/>
          <ac:spMkLst>
            <pc:docMk/>
            <pc:sldMk cId="3917842462" sldId="2147469394"/>
            <ac:spMk id="93" creationId="{0416EEE3-1B98-B0AC-6839-F7F2AFB64A7C}"/>
          </ac:spMkLst>
        </pc:spChg>
        <pc:spChg chg="del">
          <ac:chgData name="Cyrille Scuri" userId="0ff3ad52-7312-41f1-b45c-1187e0d5d8d9" providerId="ADAL" clId="{D295DB46-1D78-470C-92CC-0D5F3AD21CF6}" dt="2022-09-08T12:38:25.582" v="4307" actId="478"/>
          <ac:spMkLst>
            <pc:docMk/>
            <pc:sldMk cId="3917842462" sldId="2147469394"/>
            <ac:spMk id="98" creationId="{A6D38A1B-5D1F-1E76-857E-D9F997805480}"/>
          </ac:spMkLst>
        </pc:spChg>
        <pc:spChg chg="mod">
          <ac:chgData name="Cyrille Scuri" userId="0ff3ad52-7312-41f1-b45c-1187e0d5d8d9" providerId="ADAL" clId="{D295DB46-1D78-470C-92CC-0D5F3AD21CF6}" dt="2022-09-08T12:49:32.154" v="4632" actId="1038"/>
          <ac:spMkLst>
            <pc:docMk/>
            <pc:sldMk cId="3917842462" sldId="2147469394"/>
            <ac:spMk id="99" creationId="{D9647920-5CC5-6F4D-8352-AE8D8C545A32}"/>
          </ac:spMkLst>
        </pc:spChg>
        <pc:picChg chg="add mod">
          <ac:chgData name="Cyrille Scuri" userId="0ff3ad52-7312-41f1-b45c-1187e0d5d8d9" providerId="ADAL" clId="{D295DB46-1D78-470C-92CC-0D5F3AD21CF6}" dt="2022-09-08T12:48:54.466" v="4579" actId="12789"/>
          <ac:picMkLst>
            <pc:docMk/>
            <pc:sldMk cId="3917842462" sldId="2147469394"/>
            <ac:picMk id="5" creationId="{31A54534-FCE3-C911-AA4A-C2419AF90825}"/>
          </ac:picMkLst>
        </pc:picChg>
        <pc:picChg chg="del">
          <ac:chgData name="Cyrille Scuri" userId="0ff3ad52-7312-41f1-b45c-1187e0d5d8d9" providerId="ADAL" clId="{D295DB46-1D78-470C-92CC-0D5F3AD21CF6}" dt="2022-09-08T12:38:22.002" v="4306" actId="478"/>
          <ac:picMkLst>
            <pc:docMk/>
            <pc:sldMk cId="3917842462" sldId="2147469394"/>
            <ac:picMk id="85" creationId="{11860D6A-41E0-CC48-FC48-CF75577CD867}"/>
          </ac:picMkLst>
        </pc:picChg>
        <pc:picChg chg="mod">
          <ac:chgData name="Cyrille Scuri" userId="0ff3ad52-7312-41f1-b45c-1187e0d5d8d9" providerId="ADAL" clId="{D295DB46-1D78-470C-92CC-0D5F3AD21CF6}" dt="2022-09-08T12:39:21.069" v="4342" actId="1036"/>
          <ac:picMkLst>
            <pc:docMk/>
            <pc:sldMk cId="3917842462" sldId="2147469394"/>
            <ac:picMk id="86" creationId="{FF0E93F1-A75A-4BE9-E622-9E1DD8D1BDBF}"/>
          </ac:picMkLst>
        </pc:picChg>
        <pc:picChg chg="del">
          <ac:chgData name="Cyrille Scuri" userId="0ff3ad52-7312-41f1-b45c-1187e0d5d8d9" providerId="ADAL" clId="{D295DB46-1D78-470C-92CC-0D5F3AD21CF6}" dt="2022-09-08T12:35:51.218" v="3721" actId="478"/>
          <ac:picMkLst>
            <pc:docMk/>
            <pc:sldMk cId="3917842462" sldId="2147469394"/>
            <ac:picMk id="88" creationId="{0476D6B2-2BD4-7DC4-DCC5-02DB7572BF60}"/>
          </ac:picMkLst>
        </pc:picChg>
        <pc:picChg chg="mod">
          <ac:chgData name="Cyrille Scuri" userId="0ff3ad52-7312-41f1-b45c-1187e0d5d8d9" providerId="ADAL" clId="{D295DB46-1D78-470C-92CC-0D5F3AD21CF6}" dt="2022-09-08T12:48:54.466" v="4579" actId="12789"/>
          <ac:picMkLst>
            <pc:docMk/>
            <pc:sldMk cId="3917842462" sldId="2147469394"/>
            <ac:picMk id="94" creationId="{1AE7520E-69EF-403A-4646-C072482DCECC}"/>
          </ac:picMkLst>
        </pc:picChg>
        <pc:picChg chg="del">
          <ac:chgData name="Cyrille Scuri" userId="0ff3ad52-7312-41f1-b45c-1187e0d5d8d9" providerId="ADAL" clId="{D295DB46-1D78-470C-92CC-0D5F3AD21CF6}" dt="2022-09-08T12:37:16.391" v="3894" actId="478"/>
          <ac:picMkLst>
            <pc:docMk/>
            <pc:sldMk cId="3917842462" sldId="2147469394"/>
            <ac:picMk id="95" creationId="{FE6A7B09-594E-83B1-33CB-B24216D04DFC}"/>
          </ac:picMkLst>
        </pc:picChg>
        <pc:picChg chg="mod">
          <ac:chgData name="Cyrille Scuri" userId="0ff3ad52-7312-41f1-b45c-1187e0d5d8d9" providerId="ADAL" clId="{D295DB46-1D78-470C-92CC-0D5F3AD21CF6}" dt="2022-09-08T12:48:54.466" v="4579" actId="12789"/>
          <ac:picMkLst>
            <pc:docMk/>
            <pc:sldMk cId="3917842462" sldId="2147469394"/>
            <ac:picMk id="96" creationId="{D2E66166-AAC8-8E61-4DFE-C63A283859EB}"/>
          </ac:picMkLst>
        </pc:picChg>
        <pc:picChg chg="del">
          <ac:chgData name="Cyrille Scuri" userId="0ff3ad52-7312-41f1-b45c-1187e0d5d8d9" providerId="ADAL" clId="{D295DB46-1D78-470C-92CC-0D5F3AD21CF6}" dt="2022-09-08T12:38:26.924" v="4309" actId="478"/>
          <ac:picMkLst>
            <pc:docMk/>
            <pc:sldMk cId="3917842462" sldId="2147469394"/>
            <ac:picMk id="97" creationId="{92A27F37-A8F7-7693-ADEA-AF66E50E509B}"/>
          </ac:picMkLst>
        </pc:picChg>
      </pc:sldChg>
      <pc:sldMasterChg chg="delSldLayout">
        <pc:chgData name="Cyrille Scuri" userId="0ff3ad52-7312-41f1-b45c-1187e0d5d8d9" providerId="ADAL" clId="{D295DB46-1D78-470C-92CC-0D5F3AD21CF6}" dt="2022-09-08T14:47:39.514" v="5162" actId="47"/>
        <pc:sldMasterMkLst>
          <pc:docMk/>
          <pc:sldMasterMk cId="458414875" sldId="2147484447"/>
        </pc:sldMasterMkLst>
        <pc:sldLayoutChg chg="del">
          <pc:chgData name="Cyrille Scuri" userId="0ff3ad52-7312-41f1-b45c-1187e0d5d8d9" providerId="ADAL" clId="{D295DB46-1D78-470C-92CC-0D5F3AD21CF6}" dt="2022-09-07T12:57:22.959" v="632" actId="47"/>
          <pc:sldLayoutMkLst>
            <pc:docMk/>
            <pc:sldMasterMk cId="458414875" sldId="2147484447"/>
            <pc:sldLayoutMk cId="1758318443" sldId="2147484472"/>
          </pc:sldLayoutMkLst>
        </pc:sldLayoutChg>
        <pc:sldLayoutChg chg="del">
          <pc:chgData name="Cyrille Scuri" userId="0ff3ad52-7312-41f1-b45c-1187e0d5d8d9" providerId="ADAL" clId="{D295DB46-1D78-470C-92CC-0D5F3AD21CF6}" dt="2022-09-07T12:57:22.092" v="631" actId="47"/>
          <pc:sldLayoutMkLst>
            <pc:docMk/>
            <pc:sldMasterMk cId="458414875" sldId="2147484447"/>
            <pc:sldLayoutMk cId="2379032165" sldId="2147484482"/>
          </pc:sldLayoutMkLst>
        </pc:sldLayoutChg>
        <pc:sldLayoutChg chg="del">
          <pc:chgData name="Cyrille Scuri" userId="0ff3ad52-7312-41f1-b45c-1187e0d5d8d9" providerId="ADAL" clId="{D295DB46-1D78-470C-92CC-0D5F3AD21CF6}" dt="2022-09-08T14:47:39.514" v="5162" actId="47"/>
          <pc:sldLayoutMkLst>
            <pc:docMk/>
            <pc:sldMasterMk cId="458414875" sldId="2147484447"/>
            <pc:sldLayoutMk cId="2541268060" sldId="2147484562"/>
          </pc:sldLayoutMkLst>
        </pc:sldLayoutChg>
      </pc:sldMasterChg>
      <pc:sldMasterChg chg="del delSldLayout">
        <pc:chgData name="Cyrille Scuri" userId="0ff3ad52-7312-41f1-b45c-1187e0d5d8d9" providerId="ADAL" clId="{D295DB46-1D78-470C-92CC-0D5F3AD21CF6}" dt="2022-09-06T10:06:40.370" v="168" actId="47"/>
        <pc:sldMasterMkLst>
          <pc:docMk/>
          <pc:sldMasterMk cId="658638357" sldId="2147484562"/>
        </pc:sldMasterMkLst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360478367" sldId="2147484563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111794455" sldId="2147484564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4219381169" sldId="2147484565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849211578" sldId="2147484566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505841138" sldId="2147484567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657554177" sldId="2147484568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392562585" sldId="2147484569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167854434" sldId="2147484570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136530050" sldId="2147484571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657122544" sldId="2147484572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896490869" sldId="2147484573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921646236" sldId="2147484574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213930008" sldId="2147484575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266844126" sldId="2147484576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514732830" sldId="2147484577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873570114" sldId="2147484578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471571948" sldId="2147484579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086889637" sldId="2147484580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159358452" sldId="2147484581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535743356" sldId="2147484582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852696751" sldId="2147484583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574324142" sldId="2147484584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069544333" sldId="2147484585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880598119" sldId="2147484586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738633967" sldId="2147484587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539276268" sldId="2147484588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774737297" sldId="2147484589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932471420" sldId="2147484590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577609809" sldId="2147484591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333067489" sldId="2147484592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578476960" sldId="2147484593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397088966" sldId="2147484594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761131526" sldId="2147484595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3417885543" sldId="2147484596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1816937861" sldId="2147484597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724933205" sldId="2147484598"/>
          </pc:sldLayoutMkLst>
        </pc:sldLayoutChg>
        <pc:sldLayoutChg chg="del">
          <pc:chgData name="Cyrille Scuri" userId="0ff3ad52-7312-41f1-b45c-1187e0d5d8d9" providerId="ADAL" clId="{D295DB46-1D78-470C-92CC-0D5F3AD21CF6}" dt="2022-09-06T10:06:40.370" v="168" actId="47"/>
          <pc:sldLayoutMkLst>
            <pc:docMk/>
            <pc:sldMasterMk cId="658638357" sldId="2147484562"/>
            <pc:sldLayoutMk cId="2029154117" sldId="2147484599"/>
          </pc:sldLayoutMkLst>
        </pc:sldLayoutChg>
      </pc:sldMasterChg>
    </pc:docChg>
  </pc:docChgLst>
  <pc:docChgLst>
    <pc:chgData name="Cyrille Scuri" userId="0ff3ad52-7312-41f1-b45c-1187e0d5d8d9" providerId="ADAL" clId="{4ED724D8-F7E3-43C7-B0D4-DB11D7359E26}"/>
    <pc:docChg chg="undo custSel addSld delSld modSld sldOrd">
      <pc:chgData name="Cyrille Scuri" userId="0ff3ad52-7312-41f1-b45c-1187e0d5d8d9" providerId="ADAL" clId="{4ED724D8-F7E3-43C7-B0D4-DB11D7359E26}" dt="2022-05-17T12:48:01.685" v="2383" actId="20577"/>
      <pc:docMkLst>
        <pc:docMk/>
      </pc:docMkLst>
      <pc:sldChg chg="modSp mod">
        <pc:chgData name="Cyrille Scuri" userId="0ff3ad52-7312-41f1-b45c-1187e0d5d8d9" providerId="ADAL" clId="{4ED724D8-F7E3-43C7-B0D4-DB11D7359E26}" dt="2022-05-16T10:40:15.351" v="1299" actId="403"/>
        <pc:sldMkLst>
          <pc:docMk/>
          <pc:sldMk cId="158698144" sldId="2076138255"/>
        </pc:sldMkLst>
        <pc:spChg chg="mod">
          <ac:chgData name="Cyrille Scuri" userId="0ff3ad52-7312-41f1-b45c-1187e0d5d8d9" providerId="ADAL" clId="{4ED724D8-F7E3-43C7-B0D4-DB11D7359E26}" dt="2022-05-16T10:40:15.351" v="1299" actId="403"/>
          <ac:spMkLst>
            <pc:docMk/>
            <pc:sldMk cId="158698144" sldId="2076138255"/>
            <ac:spMk id="8" creationId="{D50DB96D-FB6C-4402-9CBB-39EFDC614E86}"/>
          </ac:spMkLst>
        </pc:spChg>
      </pc:sldChg>
      <pc:sldChg chg="addSp delSp modSp del mod addAnim delAnim modAnim">
        <pc:chgData name="Cyrille Scuri" userId="0ff3ad52-7312-41f1-b45c-1187e0d5d8d9" providerId="ADAL" clId="{4ED724D8-F7E3-43C7-B0D4-DB11D7359E26}" dt="2022-05-16T08:59:43.163" v="961" actId="47"/>
        <pc:sldMkLst>
          <pc:docMk/>
          <pc:sldMk cId="408108823" sldId="2147374843"/>
        </pc:sldMkLst>
        <pc:spChg chg="del">
          <ac:chgData name="Cyrille Scuri" userId="0ff3ad52-7312-41f1-b45c-1187e0d5d8d9" providerId="ADAL" clId="{4ED724D8-F7E3-43C7-B0D4-DB11D7359E26}" dt="2022-05-13T10:10:47.368" v="91" actId="478"/>
          <ac:spMkLst>
            <pc:docMk/>
            <pc:sldMk cId="408108823" sldId="2147374843"/>
            <ac:spMk id="3" creationId="{D55F33AB-C3D3-4387-8EB9-42DC9DB05963}"/>
          </ac:spMkLst>
        </pc:spChg>
        <pc:spChg chg="add del mod">
          <ac:chgData name="Cyrille Scuri" userId="0ff3ad52-7312-41f1-b45c-1187e0d5d8d9" providerId="ADAL" clId="{4ED724D8-F7E3-43C7-B0D4-DB11D7359E26}" dt="2022-05-13T10:10:51.392" v="92" actId="478"/>
          <ac:spMkLst>
            <pc:docMk/>
            <pc:sldMk cId="408108823" sldId="2147374843"/>
            <ac:spMk id="4" creationId="{56C99ABC-E1D9-B556-578E-DE9D30A7EF45}"/>
          </ac:spMkLst>
        </pc:spChg>
        <pc:spChg chg="del mod topLvl">
          <ac:chgData name="Cyrille Scuri" userId="0ff3ad52-7312-41f1-b45c-1187e0d5d8d9" providerId="ADAL" clId="{4ED724D8-F7E3-43C7-B0D4-DB11D7359E26}" dt="2022-05-16T08:49:54.372" v="695" actId="478"/>
          <ac:spMkLst>
            <pc:docMk/>
            <pc:sldMk cId="408108823" sldId="2147374843"/>
            <ac:spMk id="19" creationId="{5EBD301C-67C8-498C-9CD2-3A2F4FC1AC66}"/>
          </ac:spMkLst>
        </pc:spChg>
        <pc:spChg chg="del mod topLvl">
          <ac:chgData name="Cyrille Scuri" userId="0ff3ad52-7312-41f1-b45c-1187e0d5d8d9" providerId="ADAL" clId="{4ED724D8-F7E3-43C7-B0D4-DB11D7359E26}" dt="2022-05-16T08:49:51.346" v="694" actId="478"/>
          <ac:spMkLst>
            <pc:docMk/>
            <pc:sldMk cId="408108823" sldId="2147374843"/>
            <ac:spMk id="20" creationId="{6C5F01A2-62BB-4C56-B120-FA0935EED705}"/>
          </ac:spMkLst>
        </pc:spChg>
        <pc:spChg chg="mod topLvl">
          <ac:chgData name="Cyrille Scuri" userId="0ff3ad52-7312-41f1-b45c-1187e0d5d8d9" providerId="ADAL" clId="{4ED724D8-F7E3-43C7-B0D4-DB11D7359E26}" dt="2022-05-16T08:50:43.699" v="704" actId="20577"/>
          <ac:spMkLst>
            <pc:docMk/>
            <pc:sldMk cId="408108823" sldId="2147374843"/>
            <ac:spMk id="21" creationId="{7C70677B-2E2A-4D74-9609-378A719959A4}"/>
          </ac:spMkLst>
        </pc:spChg>
        <pc:spChg chg="del mod topLvl">
          <ac:chgData name="Cyrille Scuri" userId="0ff3ad52-7312-41f1-b45c-1187e0d5d8d9" providerId="ADAL" clId="{4ED724D8-F7E3-43C7-B0D4-DB11D7359E26}" dt="2022-05-16T08:50:04.155" v="697" actId="478"/>
          <ac:spMkLst>
            <pc:docMk/>
            <pc:sldMk cId="408108823" sldId="2147374843"/>
            <ac:spMk id="22" creationId="{D429DFFB-3950-4A07-9638-BAA58FB5D5E9}"/>
          </ac:spMkLst>
        </pc:spChg>
        <pc:spChg chg="mod">
          <ac:chgData name="Cyrille Scuri" userId="0ff3ad52-7312-41f1-b45c-1187e0d5d8d9" providerId="ADAL" clId="{4ED724D8-F7E3-43C7-B0D4-DB11D7359E26}" dt="2022-05-16T08:51:55.539" v="729" actId="120"/>
          <ac:spMkLst>
            <pc:docMk/>
            <pc:sldMk cId="408108823" sldId="2147374843"/>
            <ac:spMk id="26" creationId="{71536677-25C2-4564-8C84-F951792920CA}"/>
          </ac:spMkLst>
        </pc:spChg>
        <pc:spChg chg="mod">
          <ac:chgData name="Cyrille Scuri" userId="0ff3ad52-7312-41f1-b45c-1187e0d5d8d9" providerId="ADAL" clId="{4ED724D8-F7E3-43C7-B0D4-DB11D7359E26}" dt="2022-05-13T11:44:34.344" v="678" actId="165"/>
          <ac:spMkLst>
            <pc:docMk/>
            <pc:sldMk cId="408108823" sldId="2147374843"/>
            <ac:spMk id="27" creationId="{E07CA4BD-B728-4F43-A1DD-B09036998B5A}"/>
          </ac:spMkLst>
        </pc:spChg>
        <pc:spChg chg="mod">
          <ac:chgData name="Cyrille Scuri" userId="0ff3ad52-7312-41f1-b45c-1187e0d5d8d9" providerId="ADAL" clId="{4ED724D8-F7E3-43C7-B0D4-DB11D7359E26}" dt="2022-05-16T08:52:00.224" v="730" actId="120"/>
          <ac:spMkLst>
            <pc:docMk/>
            <pc:sldMk cId="408108823" sldId="2147374843"/>
            <ac:spMk id="33" creationId="{CF564525-1F54-4DFB-BA8D-6AD47B566EA2}"/>
          </ac:spMkLst>
        </pc:spChg>
        <pc:spChg chg="mod">
          <ac:chgData name="Cyrille Scuri" userId="0ff3ad52-7312-41f1-b45c-1187e0d5d8d9" providerId="ADAL" clId="{4ED724D8-F7E3-43C7-B0D4-DB11D7359E26}" dt="2022-05-13T11:44:53.573" v="686" actId="165"/>
          <ac:spMkLst>
            <pc:docMk/>
            <pc:sldMk cId="408108823" sldId="2147374843"/>
            <ac:spMk id="34" creationId="{CFF17393-9951-4B4E-B35B-3AB5F6EBF4E0}"/>
          </ac:spMkLst>
        </pc:spChg>
        <pc:spChg chg="mod topLvl">
          <ac:chgData name="Cyrille Scuri" userId="0ff3ad52-7312-41f1-b45c-1187e0d5d8d9" providerId="ADAL" clId="{4ED724D8-F7E3-43C7-B0D4-DB11D7359E26}" dt="2022-05-16T08:53:19.564" v="753" actId="14100"/>
          <ac:spMkLst>
            <pc:docMk/>
            <pc:sldMk cId="408108823" sldId="2147374843"/>
            <ac:spMk id="35" creationId="{28203961-E567-4BB7-80D4-C5D784FBC846}"/>
          </ac:spMkLst>
        </pc:spChg>
        <pc:spChg chg="del mod topLvl">
          <ac:chgData name="Cyrille Scuri" userId="0ff3ad52-7312-41f1-b45c-1187e0d5d8d9" providerId="ADAL" clId="{4ED724D8-F7E3-43C7-B0D4-DB11D7359E26}" dt="2022-05-16T08:52:21.559" v="732" actId="478"/>
          <ac:spMkLst>
            <pc:docMk/>
            <pc:sldMk cId="408108823" sldId="2147374843"/>
            <ac:spMk id="36" creationId="{61EAE1BB-4DD4-4D3C-9C65-D5E90D7D5CB6}"/>
          </ac:spMkLst>
        </pc:spChg>
        <pc:spChg chg="mod topLvl">
          <ac:chgData name="Cyrille Scuri" userId="0ff3ad52-7312-41f1-b45c-1187e0d5d8d9" providerId="ADAL" clId="{4ED724D8-F7E3-43C7-B0D4-DB11D7359E26}" dt="2022-05-16T08:54:53.568" v="778" actId="20577"/>
          <ac:spMkLst>
            <pc:docMk/>
            <pc:sldMk cId="408108823" sldId="2147374843"/>
            <ac:spMk id="38" creationId="{5CC2006A-FF7C-42BD-AFDB-FAE17E4D48E2}"/>
          </ac:spMkLst>
        </pc:spChg>
        <pc:spChg chg="mod topLvl">
          <ac:chgData name="Cyrille Scuri" userId="0ff3ad52-7312-41f1-b45c-1187e0d5d8d9" providerId="ADAL" clId="{4ED724D8-F7E3-43C7-B0D4-DB11D7359E26}" dt="2022-05-16T08:54:03.263" v="756" actId="1076"/>
          <ac:spMkLst>
            <pc:docMk/>
            <pc:sldMk cId="408108823" sldId="2147374843"/>
            <ac:spMk id="39" creationId="{5A2FDCF9-1428-4B42-A192-049FFC82E67C}"/>
          </ac:spMkLst>
        </pc:spChg>
        <pc:spChg chg="mod">
          <ac:chgData name="Cyrille Scuri" userId="0ff3ad52-7312-41f1-b45c-1187e0d5d8d9" providerId="ADAL" clId="{4ED724D8-F7E3-43C7-B0D4-DB11D7359E26}" dt="2022-05-13T11:44:24.808" v="677" actId="165"/>
          <ac:spMkLst>
            <pc:docMk/>
            <pc:sldMk cId="408108823" sldId="2147374843"/>
            <ac:spMk id="46" creationId="{30534397-C44A-4298-AAEE-A38E64ED3188}"/>
          </ac:spMkLst>
        </pc:spChg>
        <pc:spChg chg="mod">
          <ac:chgData name="Cyrille Scuri" userId="0ff3ad52-7312-41f1-b45c-1187e0d5d8d9" providerId="ADAL" clId="{4ED724D8-F7E3-43C7-B0D4-DB11D7359E26}" dt="2022-05-13T11:44:24.808" v="677" actId="165"/>
          <ac:spMkLst>
            <pc:docMk/>
            <pc:sldMk cId="408108823" sldId="2147374843"/>
            <ac:spMk id="47" creationId="{15CC129A-0665-463A-94CB-58D86F2DEC92}"/>
          </ac:spMkLst>
        </pc:spChg>
        <pc:grpChg chg="del">
          <ac:chgData name="Cyrille Scuri" userId="0ff3ad52-7312-41f1-b45c-1187e0d5d8d9" providerId="ADAL" clId="{4ED724D8-F7E3-43C7-B0D4-DB11D7359E26}" dt="2022-05-13T11:44:38.083" v="679" actId="165"/>
          <ac:grpSpMkLst>
            <pc:docMk/>
            <pc:sldMk cId="408108823" sldId="2147374843"/>
            <ac:grpSpMk id="13" creationId="{77DC47B5-724A-4750-9F47-4E605E6C8818}"/>
          </ac:grpSpMkLst>
        </pc:grpChg>
        <pc:grpChg chg="del mod topLvl">
          <ac:chgData name="Cyrille Scuri" userId="0ff3ad52-7312-41f1-b45c-1187e0d5d8d9" providerId="ADAL" clId="{4ED724D8-F7E3-43C7-B0D4-DB11D7359E26}" dt="2022-05-16T08:50:02.176" v="696" actId="165"/>
          <ac:grpSpMkLst>
            <pc:docMk/>
            <pc:sldMk cId="408108823" sldId="2147374843"/>
            <ac:grpSpMk id="14" creationId="{35047F51-6DB9-43ED-A8A3-D0B3FDE45C9F}"/>
          </ac:grpSpMkLst>
        </pc:grpChg>
        <pc:grpChg chg="del mod topLvl">
          <ac:chgData name="Cyrille Scuri" userId="0ff3ad52-7312-41f1-b45c-1187e0d5d8d9" providerId="ADAL" clId="{4ED724D8-F7E3-43C7-B0D4-DB11D7359E26}" dt="2022-05-16T08:49:51.346" v="694" actId="478"/>
          <ac:grpSpMkLst>
            <pc:docMk/>
            <pc:sldMk cId="408108823" sldId="2147374843"/>
            <ac:grpSpMk id="15" creationId="{62A61D19-36AC-4600-A1C7-F2858C15FDB5}"/>
          </ac:grpSpMkLst>
        </pc:grpChg>
        <pc:grpChg chg="del mod topLvl">
          <ac:chgData name="Cyrille Scuri" userId="0ff3ad52-7312-41f1-b45c-1187e0d5d8d9" providerId="ADAL" clId="{4ED724D8-F7E3-43C7-B0D4-DB11D7359E26}" dt="2022-05-13T11:44:56.268" v="688" actId="478"/>
          <ac:grpSpMkLst>
            <pc:docMk/>
            <pc:sldMk cId="408108823" sldId="2147374843"/>
            <ac:grpSpMk id="16" creationId="{2C8E27CB-3863-4514-B23A-6DBB291D875D}"/>
          </ac:grpSpMkLst>
        </pc:grpChg>
        <pc:grpChg chg="add del">
          <ac:chgData name="Cyrille Scuri" userId="0ff3ad52-7312-41f1-b45c-1187e0d5d8d9" providerId="ADAL" clId="{4ED724D8-F7E3-43C7-B0D4-DB11D7359E26}" dt="2022-05-13T11:44:34.344" v="678" actId="165"/>
          <ac:grpSpMkLst>
            <pc:docMk/>
            <pc:sldMk cId="408108823" sldId="2147374843"/>
            <ac:grpSpMk id="23" creationId="{FBB31E2C-9298-4C67-97BC-E59E861DEB70}"/>
          </ac:grpSpMkLst>
        </pc:grpChg>
        <pc:grpChg chg="add del mod topLvl">
          <ac:chgData name="Cyrille Scuri" userId="0ff3ad52-7312-41f1-b45c-1187e0d5d8d9" providerId="ADAL" clId="{4ED724D8-F7E3-43C7-B0D4-DB11D7359E26}" dt="2022-05-13T11:44:53.573" v="686" actId="165"/>
          <ac:grpSpMkLst>
            <pc:docMk/>
            <pc:sldMk cId="408108823" sldId="2147374843"/>
            <ac:grpSpMk id="24" creationId="{D63E88E3-7502-422D-8F93-8DEDE5B8218F}"/>
          </ac:grpSpMkLst>
        </pc:grpChg>
        <pc:grpChg chg="del mod topLvl">
          <ac:chgData name="Cyrille Scuri" userId="0ff3ad52-7312-41f1-b45c-1187e0d5d8d9" providerId="ADAL" clId="{4ED724D8-F7E3-43C7-B0D4-DB11D7359E26}" dt="2022-05-16T08:52:57.083" v="745" actId="478"/>
          <ac:grpSpMkLst>
            <pc:docMk/>
            <pc:sldMk cId="408108823" sldId="2147374843"/>
            <ac:grpSpMk id="25" creationId="{37048519-144B-48CB-8312-729A4323636D}"/>
          </ac:grpSpMkLst>
        </pc:grpChg>
        <pc:grpChg chg="del mod topLvl">
          <ac:chgData name="Cyrille Scuri" userId="0ff3ad52-7312-41f1-b45c-1187e0d5d8d9" providerId="ADAL" clId="{4ED724D8-F7E3-43C7-B0D4-DB11D7359E26}" dt="2022-05-16T08:52:21.559" v="732" actId="478"/>
          <ac:grpSpMkLst>
            <pc:docMk/>
            <pc:sldMk cId="408108823" sldId="2147374843"/>
            <ac:grpSpMk id="28" creationId="{1E7F3E97-7DA9-4AE8-B195-D80DDA54C408}"/>
          </ac:grpSpMkLst>
        </pc:grpChg>
        <pc:grpChg chg="del mod topLvl">
          <ac:chgData name="Cyrille Scuri" userId="0ff3ad52-7312-41f1-b45c-1187e0d5d8d9" providerId="ADAL" clId="{4ED724D8-F7E3-43C7-B0D4-DB11D7359E26}" dt="2022-05-16T08:52:58.774" v="746" actId="478"/>
          <ac:grpSpMkLst>
            <pc:docMk/>
            <pc:sldMk cId="408108823" sldId="2147374843"/>
            <ac:grpSpMk id="29" creationId="{179865C8-E8F3-4A10-8B2B-43BBBB09104E}"/>
          </ac:grpSpMkLst>
        </pc:grpChg>
        <pc:grpChg chg="del mod">
          <ac:chgData name="Cyrille Scuri" userId="0ff3ad52-7312-41f1-b45c-1187e0d5d8d9" providerId="ADAL" clId="{4ED724D8-F7E3-43C7-B0D4-DB11D7359E26}" dt="2022-05-13T11:44:49.830" v="685" actId="478"/>
          <ac:grpSpMkLst>
            <pc:docMk/>
            <pc:sldMk cId="408108823" sldId="2147374843"/>
            <ac:grpSpMk id="30" creationId="{8688234C-E572-40D3-B4D0-2F32CE4F641A}"/>
          </ac:grpSpMkLst>
        </pc:grpChg>
        <pc:grpChg chg="del">
          <ac:chgData name="Cyrille Scuri" userId="0ff3ad52-7312-41f1-b45c-1187e0d5d8d9" providerId="ADAL" clId="{4ED724D8-F7E3-43C7-B0D4-DB11D7359E26}" dt="2022-05-13T11:44:41.817" v="680" actId="165"/>
          <ac:grpSpMkLst>
            <pc:docMk/>
            <pc:sldMk cId="408108823" sldId="2147374843"/>
            <ac:grpSpMk id="37" creationId="{26F88AD7-EDA4-4AC7-A569-1FAF06E642EB}"/>
          </ac:grpSpMkLst>
        </pc:grpChg>
        <pc:grpChg chg="add del">
          <ac:chgData name="Cyrille Scuri" userId="0ff3ad52-7312-41f1-b45c-1187e0d5d8d9" providerId="ADAL" clId="{4ED724D8-F7E3-43C7-B0D4-DB11D7359E26}" dt="2022-05-13T11:44:24.808" v="677" actId="165"/>
          <ac:grpSpMkLst>
            <pc:docMk/>
            <pc:sldMk cId="408108823" sldId="2147374843"/>
            <ac:grpSpMk id="42" creationId="{C938166D-98E3-48D3-99D5-79136F4A8188}"/>
          </ac:grpSpMkLst>
        </pc:grpChg>
        <pc:grpChg chg="mod topLvl">
          <ac:chgData name="Cyrille Scuri" userId="0ff3ad52-7312-41f1-b45c-1187e0d5d8d9" providerId="ADAL" clId="{4ED724D8-F7E3-43C7-B0D4-DB11D7359E26}" dt="2022-05-13T11:44:24.808" v="677" actId="165"/>
          <ac:grpSpMkLst>
            <pc:docMk/>
            <pc:sldMk cId="408108823" sldId="2147374843"/>
            <ac:grpSpMk id="43" creationId="{1A68F2BE-BA6C-4141-92BC-CDBF2DF2C80D}"/>
          </ac:grpSpMkLst>
        </pc:grpChg>
        <pc:picChg chg="del">
          <ac:chgData name="Cyrille Scuri" userId="0ff3ad52-7312-41f1-b45c-1187e0d5d8d9" providerId="ADAL" clId="{4ED724D8-F7E3-43C7-B0D4-DB11D7359E26}" dt="2022-05-13T10:10:32.506" v="84" actId="478"/>
          <ac:picMkLst>
            <pc:docMk/>
            <pc:sldMk cId="408108823" sldId="2147374843"/>
            <ac:picMk id="8" creationId="{AAD7F590-015E-4CD5-BE15-BBC46BE0BD47}"/>
          </ac:picMkLst>
        </pc:picChg>
        <pc:picChg chg="del">
          <ac:chgData name="Cyrille Scuri" userId="0ff3ad52-7312-41f1-b45c-1187e0d5d8d9" providerId="ADAL" clId="{4ED724D8-F7E3-43C7-B0D4-DB11D7359E26}" dt="2022-05-13T10:10:40.480" v="88" actId="478"/>
          <ac:picMkLst>
            <pc:docMk/>
            <pc:sldMk cId="408108823" sldId="2147374843"/>
            <ac:picMk id="9" creationId="{DCBB7959-6BFF-42B3-B385-499164C15272}"/>
          </ac:picMkLst>
        </pc:picChg>
        <pc:picChg chg="del">
          <ac:chgData name="Cyrille Scuri" userId="0ff3ad52-7312-41f1-b45c-1187e0d5d8d9" providerId="ADAL" clId="{4ED724D8-F7E3-43C7-B0D4-DB11D7359E26}" dt="2022-05-13T10:10:39.339" v="87" actId="478"/>
          <ac:picMkLst>
            <pc:docMk/>
            <pc:sldMk cId="408108823" sldId="2147374843"/>
            <ac:picMk id="10" creationId="{8D1BFD76-97D0-48AB-A5A0-D361BA202BBA}"/>
          </ac:picMkLst>
        </pc:picChg>
        <pc:picChg chg="del">
          <ac:chgData name="Cyrille Scuri" userId="0ff3ad52-7312-41f1-b45c-1187e0d5d8d9" providerId="ADAL" clId="{4ED724D8-F7E3-43C7-B0D4-DB11D7359E26}" dt="2022-05-13T11:44:18.954" v="674" actId="478"/>
          <ac:picMkLst>
            <pc:docMk/>
            <pc:sldMk cId="408108823" sldId="2147374843"/>
            <ac:picMk id="11" creationId="{95E719CE-AFE0-435A-B985-F7D1CE39D307}"/>
          </ac:picMkLst>
        </pc:picChg>
        <pc:picChg chg="del">
          <ac:chgData name="Cyrille Scuri" userId="0ff3ad52-7312-41f1-b45c-1187e0d5d8d9" providerId="ADAL" clId="{4ED724D8-F7E3-43C7-B0D4-DB11D7359E26}" dt="2022-05-13T11:44:18.104" v="673" actId="478"/>
          <ac:picMkLst>
            <pc:docMk/>
            <pc:sldMk cId="408108823" sldId="2147374843"/>
            <ac:picMk id="12" creationId="{AF0F7E4C-65EE-4B69-874D-C5A1783200C6}"/>
          </ac:picMkLst>
        </pc:picChg>
        <pc:cxnChg chg="mod">
          <ac:chgData name="Cyrille Scuri" userId="0ff3ad52-7312-41f1-b45c-1187e0d5d8d9" providerId="ADAL" clId="{4ED724D8-F7E3-43C7-B0D4-DB11D7359E26}" dt="2022-05-13T11:44:38.083" v="679" actId="165"/>
          <ac:cxnSpMkLst>
            <pc:docMk/>
            <pc:sldMk cId="408108823" sldId="2147374843"/>
            <ac:cxnSpMk id="17" creationId="{90B7D93A-655A-41FA-BD89-8CE8ADB8A8DE}"/>
          </ac:cxnSpMkLst>
        </pc:cxnChg>
        <pc:cxnChg chg="mod">
          <ac:chgData name="Cyrille Scuri" userId="0ff3ad52-7312-41f1-b45c-1187e0d5d8d9" providerId="ADAL" clId="{4ED724D8-F7E3-43C7-B0D4-DB11D7359E26}" dt="2022-05-13T11:44:38.083" v="679" actId="165"/>
          <ac:cxnSpMkLst>
            <pc:docMk/>
            <pc:sldMk cId="408108823" sldId="2147374843"/>
            <ac:cxnSpMk id="18" creationId="{219B3588-6BDA-4230-A1DF-1108F569E6BA}"/>
          </ac:cxnSpMkLst>
        </pc:cxnChg>
        <pc:cxnChg chg="del mod">
          <ac:chgData name="Cyrille Scuri" userId="0ff3ad52-7312-41f1-b45c-1187e0d5d8d9" providerId="ADAL" clId="{4ED724D8-F7E3-43C7-B0D4-DB11D7359E26}" dt="2022-05-13T11:44:49.830" v="685" actId="478"/>
          <ac:cxnSpMkLst>
            <pc:docMk/>
            <pc:sldMk cId="408108823" sldId="2147374843"/>
            <ac:cxnSpMk id="31" creationId="{9A98430B-04D0-4754-94A4-1ADE4C56B793}"/>
          </ac:cxnSpMkLst>
        </pc:cxnChg>
        <pc:cxnChg chg="del mod topLvl">
          <ac:chgData name="Cyrille Scuri" userId="0ff3ad52-7312-41f1-b45c-1187e0d5d8d9" providerId="ADAL" clId="{4ED724D8-F7E3-43C7-B0D4-DB11D7359E26}" dt="2022-05-13T11:44:55.004" v="687" actId="478"/>
          <ac:cxnSpMkLst>
            <pc:docMk/>
            <pc:sldMk cId="408108823" sldId="2147374843"/>
            <ac:cxnSpMk id="32" creationId="{B4F5FF9B-2B7C-4DDF-B4A6-B126D8790729}"/>
          </ac:cxnSpMkLst>
        </pc:cxnChg>
        <pc:cxnChg chg="del mod topLvl">
          <ac:chgData name="Cyrille Scuri" userId="0ff3ad52-7312-41f1-b45c-1187e0d5d8d9" providerId="ADAL" clId="{4ED724D8-F7E3-43C7-B0D4-DB11D7359E26}" dt="2022-05-13T11:44:44.628" v="682" actId="478"/>
          <ac:cxnSpMkLst>
            <pc:docMk/>
            <pc:sldMk cId="408108823" sldId="2147374843"/>
            <ac:cxnSpMk id="40" creationId="{12AEE9D5-A841-413E-BA97-A09D0150E579}"/>
          </ac:cxnSpMkLst>
        </pc:cxnChg>
        <pc:cxnChg chg="del mod topLvl">
          <ac:chgData name="Cyrille Scuri" userId="0ff3ad52-7312-41f1-b45c-1187e0d5d8d9" providerId="ADAL" clId="{4ED724D8-F7E3-43C7-B0D4-DB11D7359E26}" dt="2022-05-13T11:44:43.775" v="681" actId="478"/>
          <ac:cxnSpMkLst>
            <pc:docMk/>
            <pc:sldMk cId="408108823" sldId="2147374843"/>
            <ac:cxnSpMk id="41" creationId="{C52E31F8-076C-4DB2-912E-65BAFC8A350D}"/>
          </ac:cxnSpMkLst>
        </pc:cxnChg>
        <pc:cxnChg chg="del mod topLvl">
          <ac:chgData name="Cyrille Scuri" userId="0ff3ad52-7312-41f1-b45c-1187e0d5d8d9" providerId="ADAL" clId="{4ED724D8-F7E3-43C7-B0D4-DB11D7359E26}" dt="2022-05-13T11:44:58.861" v="690" actId="478"/>
          <ac:cxnSpMkLst>
            <pc:docMk/>
            <pc:sldMk cId="408108823" sldId="2147374843"/>
            <ac:cxnSpMk id="44" creationId="{A5CE7892-4551-4EE2-A262-DD4B8F97DD46}"/>
          </ac:cxnSpMkLst>
        </pc:cxnChg>
        <pc:cxnChg chg="del mod topLvl">
          <ac:chgData name="Cyrille Scuri" userId="0ff3ad52-7312-41f1-b45c-1187e0d5d8d9" providerId="ADAL" clId="{4ED724D8-F7E3-43C7-B0D4-DB11D7359E26}" dt="2022-05-13T11:44:57.475" v="689" actId="478"/>
          <ac:cxnSpMkLst>
            <pc:docMk/>
            <pc:sldMk cId="408108823" sldId="2147374843"/>
            <ac:cxnSpMk id="45" creationId="{AB88255F-66B9-43B2-9512-C12F0F0D8248}"/>
          </ac:cxnSpMkLst>
        </pc:cxnChg>
      </pc:sldChg>
      <pc:sldChg chg="addSp delSp modSp del mod">
        <pc:chgData name="Cyrille Scuri" userId="0ff3ad52-7312-41f1-b45c-1187e0d5d8d9" providerId="ADAL" clId="{4ED724D8-F7E3-43C7-B0D4-DB11D7359E26}" dt="2022-05-16T10:34:11.784" v="1157" actId="47"/>
        <pc:sldMkLst>
          <pc:docMk/>
          <pc:sldMk cId="1380218749" sldId="2147374877"/>
        </pc:sldMkLst>
        <pc:spChg chg="add del mod topLvl">
          <ac:chgData name="Cyrille Scuri" userId="0ff3ad52-7312-41f1-b45c-1187e0d5d8d9" providerId="ADAL" clId="{4ED724D8-F7E3-43C7-B0D4-DB11D7359E26}" dt="2022-05-16T10:33:56.047" v="1127" actId="478"/>
          <ac:spMkLst>
            <pc:docMk/>
            <pc:sldMk cId="1380218749" sldId="2147374877"/>
            <ac:spMk id="6" creationId="{697F5C8C-634C-A048-BE3E-859F46E98378}"/>
          </ac:spMkLst>
        </pc:spChg>
        <pc:spChg chg="add del mod topLvl">
          <ac:chgData name="Cyrille Scuri" userId="0ff3ad52-7312-41f1-b45c-1187e0d5d8d9" providerId="ADAL" clId="{4ED724D8-F7E3-43C7-B0D4-DB11D7359E26}" dt="2022-05-16T10:33:59.852" v="1129" actId="478"/>
          <ac:spMkLst>
            <pc:docMk/>
            <pc:sldMk cId="1380218749" sldId="2147374877"/>
            <ac:spMk id="7" creationId="{98CCB8E3-DDD8-3544-901E-F6F8D0EFDFA2}"/>
          </ac:spMkLst>
        </pc:spChg>
        <pc:spChg chg="add del mod topLvl">
          <ac:chgData name="Cyrille Scuri" userId="0ff3ad52-7312-41f1-b45c-1187e0d5d8d9" providerId="ADAL" clId="{4ED724D8-F7E3-43C7-B0D4-DB11D7359E26}" dt="2022-05-16T10:33:56.047" v="1127" actId="478"/>
          <ac:spMkLst>
            <pc:docMk/>
            <pc:sldMk cId="1380218749" sldId="2147374877"/>
            <ac:spMk id="8" creationId="{A7A6C7E7-67BC-9F4F-96B5-27E08CB7571E}"/>
          </ac:spMkLst>
        </pc:spChg>
        <pc:grpChg chg="del">
          <ac:chgData name="Cyrille Scuri" userId="0ff3ad52-7312-41f1-b45c-1187e0d5d8d9" providerId="ADAL" clId="{4ED724D8-F7E3-43C7-B0D4-DB11D7359E26}" dt="2022-05-16T10:33:53.129" v="1125" actId="165"/>
          <ac:grpSpMkLst>
            <pc:docMk/>
            <pc:sldMk cId="1380218749" sldId="2147374877"/>
            <ac:grpSpMk id="15" creationId="{B4065007-BF5F-5842-8707-6A1E241F9BC4}"/>
          </ac:grpSpMkLst>
        </pc:grpChg>
        <pc:picChg chg="add del mod topLvl">
          <ac:chgData name="Cyrille Scuri" userId="0ff3ad52-7312-41f1-b45c-1187e0d5d8d9" providerId="ADAL" clId="{4ED724D8-F7E3-43C7-B0D4-DB11D7359E26}" dt="2022-05-16T10:33:56.047" v="1127" actId="478"/>
          <ac:picMkLst>
            <pc:docMk/>
            <pc:sldMk cId="1380218749" sldId="2147374877"/>
            <ac:picMk id="10" creationId="{91205E03-DB47-1A4F-A676-39F6D5CFCEC4}"/>
          </ac:picMkLst>
        </pc:picChg>
        <pc:picChg chg="add del mod topLvl">
          <ac:chgData name="Cyrille Scuri" userId="0ff3ad52-7312-41f1-b45c-1187e0d5d8d9" providerId="ADAL" clId="{4ED724D8-F7E3-43C7-B0D4-DB11D7359E26}" dt="2022-05-16T10:33:58.067" v="1128" actId="478"/>
          <ac:picMkLst>
            <pc:docMk/>
            <pc:sldMk cId="1380218749" sldId="2147374877"/>
            <ac:picMk id="12" creationId="{5C902E31-125D-6B4A-91F5-7FB772F46600}"/>
          </ac:picMkLst>
        </pc:picChg>
        <pc:picChg chg="add del mod topLvl">
          <ac:chgData name="Cyrille Scuri" userId="0ff3ad52-7312-41f1-b45c-1187e0d5d8d9" providerId="ADAL" clId="{4ED724D8-F7E3-43C7-B0D4-DB11D7359E26}" dt="2022-05-16T10:33:56.047" v="1127" actId="478"/>
          <ac:picMkLst>
            <pc:docMk/>
            <pc:sldMk cId="1380218749" sldId="2147374877"/>
            <ac:picMk id="14" creationId="{2E71C4EB-430C-904E-B177-27ECE6F8A298}"/>
          </ac:picMkLst>
        </pc:picChg>
      </pc:sldChg>
      <pc:sldChg chg="addSp delSp modSp add del mod modAnim">
        <pc:chgData name="Cyrille Scuri" userId="0ff3ad52-7312-41f1-b45c-1187e0d5d8d9" providerId="ADAL" clId="{4ED724D8-F7E3-43C7-B0D4-DB11D7359E26}" dt="2022-05-17T07:04:07.123" v="1779" actId="20577"/>
        <pc:sldMkLst>
          <pc:docMk/>
          <pc:sldMk cId="605296940" sldId="2147374993"/>
        </pc:sldMkLst>
        <pc:spChg chg="mod">
          <ac:chgData name="Cyrille Scuri" userId="0ff3ad52-7312-41f1-b45c-1187e0d5d8d9" providerId="ADAL" clId="{4ED724D8-F7E3-43C7-B0D4-DB11D7359E26}" dt="2022-05-13T10:39:13.107" v="359" actId="1038"/>
          <ac:spMkLst>
            <pc:docMk/>
            <pc:sldMk cId="605296940" sldId="2147374993"/>
            <ac:spMk id="12" creationId="{7167BEF4-1FED-54E8-3662-5E63711939CB}"/>
          </ac:spMkLst>
        </pc:spChg>
        <pc:spChg chg="mod">
          <ac:chgData name="Cyrille Scuri" userId="0ff3ad52-7312-41f1-b45c-1187e0d5d8d9" providerId="ADAL" clId="{4ED724D8-F7E3-43C7-B0D4-DB11D7359E26}" dt="2022-05-16T09:34:37.998" v="1112" actId="20577"/>
          <ac:spMkLst>
            <pc:docMk/>
            <pc:sldMk cId="605296940" sldId="2147374993"/>
            <ac:spMk id="19" creationId="{5495507B-9698-E4B2-B4C7-9A71302C6479}"/>
          </ac:spMkLst>
        </pc:spChg>
        <pc:spChg chg="mod">
          <ac:chgData name="Cyrille Scuri" userId="0ff3ad52-7312-41f1-b45c-1187e0d5d8d9" providerId="ADAL" clId="{4ED724D8-F7E3-43C7-B0D4-DB11D7359E26}" dt="2022-05-16T09:34:34.488" v="1111" actId="20577"/>
          <ac:spMkLst>
            <pc:docMk/>
            <pc:sldMk cId="605296940" sldId="2147374993"/>
            <ac:spMk id="20" creationId="{1C6CFFA9-0A69-9D31-637F-714419DC03DD}"/>
          </ac:spMkLst>
        </pc:spChg>
        <pc:spChg chg="mod">
          <ac:chgData name="Cyrille Scuri" userId="0ff3ad52-7312-41f1-b45c-1187e0d5d8d9" providerId="ADAL" clId="{4ED724D8-F7E3-43C7-B0D4-DB11D7359E26}" dt="2022-05-13T10:39:13.107" v="359" actId="1038"/>
          <ac:spMkLst>
            <pc:docMk/>
            <pc:sldMk cId="605296940" sldId="2147374993"/>
            <ac:spMk id="21" creationId="{20C9DAB5-BD77-BE4C-9769-B08A40658135}"/>
          </ac:spMkLst>
        </pc:spChg>
        <pc:spChg chg="mod">
          <ac:chgData name="Cyrille Scuri" userId="0ff3ad52-7312-41f1-b45c-1187e0d5d8d9" providerId="ADAL" clId="{4ED724D8-F7E3-43C7-B0D4-DB11D7359E26}" dt="2022-05-17T07:04:07.123" v="1779" actId="20577"/>
          <ac:spMkLst>
            <pc:docMk/>
            <pc:sldMk cId="605296940" sldId="2147374993"/>
            <ac:spMk id="22" creationId="{07D49F20-7A49-C178-58FD-47859236C5CF}"/>
          </ac:spMkLst>
        </pc:spChg>
        <pc:spChg chg="mod">
          <ac:chgData name="Cyrille Scuri" userId="0ff3ad52-7312-41f1-b45c-1187e0d5d8d9" providerId="ADAL" clId="{4ED724D8-F7E3-43C7-B0D4-DB11D7359E26}" dt="2022-05-13T10:39:13.107" v="359" actId="1038"/>
          <ac:spMkLst>
            <pc:docMk/>
            <pc:sldMk cId="605296940" sldId="2147374993"/>
            <ac:spMk id="23" creationId="{1B26628E-70BB-7308-18D1-2D94052BFFFC}"/>
          </ac:spMkLst>
        </pc:spChg>
        <pc:spChg chg="del">
          <ac:chgData name="Cyrille Scuri" userId="0ff3ad52-7312-41f1-b45c-1187e0d5d8d9" providerId="ADAL" clId="{4ED724D8-F7E3-43C7-B0D4-DB11D7359E26}" dt="2022-05-13T10:38:39.467" v="331" actId="478"/>
          <ac:spMkLst>
            <pc:docMk/>
            <pc:sldMk cId="605296940" sldId="2147374993"/>
            <ac:spMk id="24" creationId="{C2422AF2-00CC-8428-AF09-D2DEA2273886}"/>
          </ac:spMkLst>
        </pc:spChg>
        <pc:spChg chg="mod">
          <ac:chgData name="Cyrille Scuri" userId="0ff3ad52-7312-41f1-b45c-1187e0d5d8d9" providerId="ADAL" clId="{4ED724D8-F7E3-43C7-B0D4-DB11D7359E26}" dt="2022-05-16T10:42:45.802" v="1310" actId="403"/>
          <ac:spMkLst>
            <pc:docMk/>
            <pc:sldMk cId="605296940" sldId="2147374993"/>
            <ac:spMk id="48" creationId="{FF8DEF63-8E15-1F43-BF82-62C7EE134766}"/>
          </ac:spMkLst>
        </pc:spChg>
        <pc:grpChg chg="mod">
          <ac:chgData name="Cyrille Scuri" userId="0ff3ad52-7312-41f1-b45c-1187e0d5d8d9" providerId="ADAL" clId="{4ED724D8-F7E3-43C7-B0D4-DB11D7359E26}" dt="2022-05-13T10:39:13.107" v="359" actId="1038"/>
          <ac:grpSpMkLst>
            <pc:docMk/>
            <pc:sldMk cId="605296940" sldId="2147374993"/>
            <ac:grpSpMk id="13" creationId="{2C9FC594-9D78-AE2C-2916-77B1843ABBE8}"/>
          </ac:grpSpMkLst>
        </pc:grpChg>
        <pc:picChg chg="add del mod modCrop">
          <ac:chgData name="Cyrille Scuri" userId="0ff3ad52-7312-41f1-b45c-1187e0d5d8d9" providerId="ADAL" clId="{4ED724D8-F7E3-43C7-B0D4-DB11D7359E26}" dt="2022-05-13T10:38:46.314" v="333" actId="478"/>
          <ac:picMkLst>
            <pc:docMk/>
            <pc:sldMk cId="605296940" sldId="2147374993"/>
            <ac:picMk id="25" creationId="{500700A3-4DE1-D00D-41B6-4CA36BB00E62}"/>
          </ac:picMkLst>
        </pc:picChg>
        <pc:picChg chg="add del mod modCrop">
          <ac:chgData name="Cyrille Scuri" userId="0ff3ad52-7312-41f1-b45c-1187e0d5d8d9" providerId="ADAL" clId="{4ED724D8-F7E3-43C7-B0D4-DB11D7359E26}" dt="2022-05-13T10:38:45.716" v="332" actId="478"/>
          <ac:picMkLst>
            <pc:docMk/>
            <pc:sldMk cId="605296940" sldId="2147374993"/>
            <ac:picMk id="26" creationId="{2A87CCB4-2FE7-61F1-7B12-D530B86781F0}"/>
          </ac:picMkLst>
        </pc:picChg>
        <pc:picChg chg="add del mod modCrop">
          <ac:chgData name="Cyrille Scuri" userId="0ff3ad52-7312-41f1-b45c-1187e0d5d8d9" providerId="ADAL" clId="{4ED724D8-F7E3-43C7-B0D4-DB11D7359E26}" dt="2022-05-13T10:38:47.622" v="334" actId="478"/>
          <ac:picMkLst>
            <pc:docMk/>
            <pc:sldMk cId="605296940" sldId="2147374993"/>
            <ac:picMk id="27" creationId="{8218EA02-8A86-C0FB-3C78-DCB443D8EDEF}"/>
          </ac:picMkLst>
        </pc:picChg>
        <pc:picChg chg="add mod">
          <ac:chgData name="Cyrille Scuri" userId="0ff3ad52-7312-41f1-b45c-1187e0d5d8d9" providerId="ADAL" clId="{4ED724D8-F7E3-43C7-B0D4-DB11D7359E26}" dt="2022-05-13T10:41:52.325" v="641" actId="1035"/>
          <ac:picMkLst>
            <pc:docMk/>
            <pc:sldMk cId="605296940" sldId="2147374993"/>
            <ac:picMk id="28" creationId="{CC3A894F-1718-6679-AE41-09EDF811F107}"/>
          </ac:picMkLst>
        </pc:picChg>
        <pc:picChg chg="add mod">
          <ac:chgData name="Cyrille Scuri" userId="0ff3ad52-7312-41f1-b45c-1187e0d5d8d9" providerId="ADAL" clId="{4ED724D8-F7E3-43C7-B0D4-DB11D7359E26}" dt="2022-05-13T10:41:39.071" v="622" actId="1035"/>
          <ac:picMkLst>
            <pc:docMk/>
            <pc:sldMk cId="605296940" sldId="2147374993"/>
            <ac:picMk id="29" creationId="{99E966AF-2C78-3C7F-36A5-345F95BFC77B}"/>
          </ac:picMkLst>
        </pc:picChg>
        <pc:picChg chg="add mod">
          <ac:chgData name="Cyrille Scuri" userId="0ff3ad52-7312-41f1-b45c-1187e0d5d8d9" providerId="ADAL" clId="{4ED724D8-F7E3-43C7-B0D4-DB11D7359E26}" dt="2022-05-13T10:41:39.071" v="622" actId="1035"/>
          <ac:picMkLst>
            <pc:docMk/>
            <pc:sldMk cId="605296940" sldId="2147374993"/>
            <ac:picMk id="30" creationId="{8BA21235-9AC4-1E90-4BCE-E383D0B42E9C}"/>
          </ac:picMkLst>
        </pc:picChg>
      </pc:sldChg>
      <pc:sldChg chg="del">
        <pc:chgData name="Cyrille Scuri" userId="0ff3ad52-7312-41f1-b45c-1187e0d5d8d9" providerId="ADAL" clId="{4ED724D8-F7E3-43C7-B0D4-DB11D7359E26}" dt="2022-05-13T10:35:16.738" v="286" actId="47"/>
        <pc:sldMkLst>
          <pc:docMk/>
          <pc:sldMk cId="618692422" sldId="2147375113"/>
        </pc:sldMkLst>
      </pc:sldChg>
      <pc:sldChg chg="addSp delSp del mod">
        <pc:chgData name="Cyrille Scuri" userId="0ff3ad52-7312-41f1-b45c-1187e0d5d8d9" providerId="ADAL" clId="{4ED724D8-F7E3-43C7-B0D4-DB11D7359E26}" dt="2022-05-13T10:35:16.143" v="285" actId="47"/>
        <pc:sldMkLst>
          <pc:docMk/>
          <pc:sldMk cId="654889526" sldId="2147375114"/>
        </pc:sldMkLst>
        <pc:picChg chg="add del">
          <ac:chgData name="Cyrille Scuri" userId="0ff3ad52-7312-41f1-b45c-1187e0d5d8d9" providerId="ADAL" clId="{4ED724D8-F7E3-43C7-B0D4-DB11D7359E26}" dt="2022-05-13T10:33:27.090" v="261" actId="22"/>
          <ac:picMkLst>
            <pc:docMk/>
            <pc:sldMk cId="654889526" sldId="2147375114"/>
            <ac:picMk id="3" creationId="{39F5D384-E8A5-22DF-C23D-475CC4008ACA}"/>
          </ac:picMkLst>
        </pc:picChg>
      </pc:sldChg>
      <pc:sldChg chg="addSp delSp del mod">
        <pc:chgData name="Cyrille Scuri" userId="0ff3ad52-7312-41f1-b45c-1187e0d5d8d9" providerId="ADAL" clId="{4ED724D8-F7E3-43C7-B0D4-DB11D7359E26}" dt="2022-05-13T10:35:17.331" v="287" actId="47"/>
        <pc:sldMkLst>
          <pc:docMk/>
          <pc:sldMk cId="3434891387" sldId="2147375117"/>
        </pc:sldMkLst>
        <pc:picChg chg="del">
          <ac:chgData name="Cyrille Scuri" userId="0ff3ad52-7312-41f1-b45c-1187e0d5d8d9" providerId="ADAL" clId="{4ED724D8-F7E3-43C7-B0D4-DB11D7359E26}" dt="2022-05-13T10:34:00.783" v="272" actId="478"/>
          <ac:picMkLst>
            <pc:docMk/>
            <pc:sldMk cId="3434891387" sldId="2147375117"/>
            <ac:picMk id="3" creationId="{87B4816E-EBE6-6CD8-F779-E064E0D72A1E}"/>
          </ac:picMkLst>
        </pc:picChg>
        <pc:picChg chg="add del">
          <ac:chgData name="Cyrille Scuri" userId="0ff3ad52-7312-41f1-b45c-1187e0d5d8d9" providerId="ADAL" clId="{4ED724D8-F7E3-43C7-B0D4-DB11D7359E26}" dt="2022-05-13T10:34:23.544" v="274" actId="478"/>
          <ac:picMkLst>
            <pc:docMk/>
            <pc:sldMk cId="3434891387" sldId="2147375117"/>
            <ac:picMk id="11" creationId="{2A09B7EC-1C4F-881F-799C-EA1E435AF4A5}"/>
          </ac:picMkLst>
        </pc:picChg>
      </pc:sldChg>
      <pc:sldChg chg="modSp mod">
        <pc:chgData name="Cyrille Scuri" userId="0ff3ad52-7312-41f1-b45c-1187e0d5d8d9" providerId="ADAL" clId="{4ED724D8-F7E3-43C7-B0D4-DB11D7359E26}" dt="2022-05-17T10:41:14.296" v="2065" actId="1038"/>
        <pc:sldMkLst>
          <pc:docMk/>
          <pc:sldMk cId="125119581" sldId="2147469260"/>
        </pc:sldMkLst>
        <pc:spChg chg="mod">
          <ac:chgData name="Cyrille Scuri" userId="0ff3ad52-7312-41f1-b45c-1187e0d5d8d9" providerId="ADAL" clId="{4ED724D8-F7E3-43C7-B0D4-DB11D7359E26}" dt="2022-05-16T10:42:49.975" v="1311" actId="403"/>
          <ac:spMkLst>
            <pc:docMk/>
            <pc:sldMk cId="125119581" sldId="2147469260"/>
            <ac:spMk id="48" creationId="{FF8DEF63-8E15-1F43-BF82-62C7EE134766}"/>
          </ac:spMkLst>
        </pc:spChg>
        <pc:picChg chg="mod">
          <ac:chgData name="Cyrille Scuri" userId="0ff3ad52-7312-41f1-b45c-1187e0d5d8d9" providerId="ADAL" clId="{4ED724D8-F7E3-43C7-B0D4-DB11D7359E26}" dt="2022-05-17T10:41:14.296" v="2065" actId="1038"/>
          <ac:picMkLst>
            <pc:docMk/>
            <pc:sldMk cId="125119581" sldId="2147469260"/>
            <ac:picMk id="56" creationId="{E9F25A16-8260-0D2D-6565-9B3E36A23690}"/>
          </ac:picMkLst>
        </pc:picChg>
      </pc:sldChg>
      <pc:sldChg chg="modSp mod ord modAnim">
        <pc:chgData name="Cyrille Scuri" userId="0ff3ad52-7312-41f1-b45c-1187e0d5d8d9" providerId="ADAL" clId="{4ED724D8-F7E3-43C7-B0D4-DB11D7359E26}" dt="2022-05-17T12:44:51.461" v="2367" actId="5793"/>
        <pc:sldMkLst>
          <pc:docMk/>
          <pc:sldMk cId="3464238080" sldId="2147469265"/>
        </pc:sldMkLst>
        <pc:spChg chg="mod">
          <ac:chgData name="Cyrille Scuri" userId="0ff3ad52-7312-41f1-b45c-1187e0d5d8d9" providerId="ADAL" clId="{4ED724D8-F7E3-43C7-B0D4-DB11D7359E26}" dt="2022-05-16T10:42:12.968" v="1304" actId="403"/>
          <ac:spMkLst>
            <pc:docMk/>
            <pc:sldMk cId="3464238080" sldId="2147469265"/>
            <ac:spMk id="8" creationId="{6EF9D717-1998-7D45-9EBE-55CF8691A10F}"/>
          </ac:spMkLst>
        </pc:spChg>
        <pc:spChg chg="mod">
          <ac:chgData name="Cyrille Scuri" userId="0ff3ad52-7312-41f1-b45c-1187e0d5d8d9" providerId="ADAL" clId="{4ED724D8-F7E3-43C7-B0D4-DB11D7359E26}" dt="2022-05-17T12:44:51.461" v="2367" actId="5793"/>
          <ac:spMkLst>
            <pc:docMk/>
            <pc:sldMk cId="3464238080" sldId="2147469265"/>
            <ac:spMk id="20" creationId="{46E628D0-DFD0-9912-D8C8-FB692663E1FD}"/>
          </ac:spMkLst>
        </pc:spChg>
        <pc:picChg chg="mod">
          <ac:chgData name="Cyrille Scuri" userId="0ff3ad52-7312-41f1-b45c-1187e0d5d8d9" providerId="ADAL" clId="{4ED724D8-F7E3-43C7-B0D4-DB11D7359E26}" dt="2022-05-13T09:24:15.113" v="33"/>
          <ac:picMkLst>
            <pc:docMk/>
            <pc:sldMk cId="3464238080" sldId="2147469265"/>
            <ac:picMk id="15" creationId="{4A5FD1E6-451F-EFE7-43A7-7606D588AB12}"/>
          </ac:picMkLst>
        </pc:picChg>
        <pc:picChg chg="mod">
          <ac:chgData name="Cyrille Scuri" userId="0ff3ad52-7312-41f1-b45c-1187e0d5d8d9" providerId="ADAL" clId="{4ED724D8-F7E3-43C7-B0D4-DB11D7359E26}" dt="2022-05-13T09:24:51.427" v="34"/>
          <ac:picMkLst>
            <pc:docMk/>
            <pc:sldMk cId="3464238080" sldId="2147469265"/>
            <ac:picMk id="16" creationId="{647333B3-EEA1-776F-23C9-384B70A89463}"/>
          </ac:picMkLst>
        </pc:picChg>
        <pc:picChg chg="mod">
          <ac:chgData name="Cyrille Scuri" userId="0ff3ad52-7312-41f1-b45c-1187e0d5d8d9" providerId="ADAL" clId="{4ED724D8-F7E3-43C7-B0D4-DB11D7359E26}" dt="2022-05-13T09:24:55.280" v="35"/>
          <ac:picMkLst>
            <pc:docMk/>
            <pc:sldMk cId="3464238080" sldId="2147469265"/>
            <ac:picMk id="17" creationId="{0326AEFA-7EA1-9ACD-7D68-6BB63235EB93}"/>
          </ac:picMkLst>
        </pc:picChg>
      </pc:sldChg>
      <pc:sldChg chg="addSp delSp modSp mod modAnim">
        <pc:chgData name="Cyrille Scuri" userId="0ff3ad52-7312-41f1-b45c-1187e0d5d8d9" providerId="ADAL" clId="{4ED724D8-F7E3-43C7-B0D4-DB11D7359E26}" dt="2022-05-17T12:48:01.685" v="2383" actId="20577"/>
        <pc:sldMkLst>
          <pc:docMk/>
          <pc:sldMk cId="2077853568" sldId="2147469267"/>
        </pc:sldMkLst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3" creationId="{92500EFC-03E7-E8D8-62F8-DD855007CA49}"/>
          </ac:spMkLst>
        </pc:spChg>
        <pc:spChg chg="mod">
          <ac:chgData name="Cyrille Scuri" userId="0ff3ad52-7312-41f1-b45c-1187e0d5d8d9" providerId="ADAL" clId="{4ED724D8-F7E3-43C7-B0D4-DB11D7359E26}" dt="2022-05-17T11:24:15.721" v="2323" actId="790"/>
          <ac:spMkLst>
            <pc:docMk/>
            <pc:sldMk cId="2077853568" sldId="2147469267"/>
            <ac:spMk id="8" creationId="{6EF9D717-1998-7D45-9EBE-55CF8691A10F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13" creationId="{099AE5D9-193E-F620-153A-4AF5D288CDAA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18" creationId="{B42FBA2E-4AEE-DC6F-581D-AD55672D18C5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19" creationId="{4373FE4A-0D9F-262D-101F-E912585B8921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1" creationId="{C698F22C-0EE0-E0D7-AA90-05BCEFF31B6A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2" creationId="{0364D1B2-E703-407C-9965-08B42A8E8E5D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3" creationId="{A80486F2-A449-4473-12E1-32BB32500DF7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4" creationId="{15ED80B1-4138-43B3-BF52-F8405EAC5F3D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5" creationId="{26CF0794-8426-5D6E-A57B-8C429EC2D974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6" creationId="{31F1B025-F269-F169-E491-F0E8D6125B15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7" creationId="{81C348B1-FBA1-C3B7-269C-053AD6CD770B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8" creationId="{47A1438B-5C80-C259-2CAE-377D63EA55F7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29" creationId="{1B08C2B9-5946-E873-8591-54B3E76294B3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31" creationId="{E4CF6F43-17FA-2989-F0F2-9F9F08040108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32" creationId="{0FF6CF9A-398E-D250-ABD4-584178077283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33" creationId="{52563BE4-9003-06C4-8AB1-EBB68604E44C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34" creationId="{8567A002-CCEB-1EA4-914F-AD2F89EA355B}"/>
          </ac:spMkLst>
        </pc:spChg>
        <pc:spChg chg="mod">
          <ac:chgData name="Cyrille Scuri" userId="0ff3ad52-7312-41f1-b45c-1187e0d5d8d9" providerId="ADAL" clId="{4ED724D8-F7E3-43C7-B0D4-DB11D7359E26}" dt="2022-05-17T11:22:52.411" v="2217" actId="1038"/>
          <ac:spMkLst>
            <pc:docMk/>
            <pc:sldMk cId="2077853568" sldId="2147469267"/>
            <ac:spMk id="35" creationId="{C8A6C481-BA97-1151-1C57-26D3197EF10C}"/>
          </ac:spMkLst>
        </pc:spChg>
        <pc:spChg chg="del">
          <ac:chgData name="Cyrille Scuri" userId="0ff3ad52-7312-41f1-b45c-1187e0d5d8d9" providerId="ADAL" clId="{4ED724D8-F7E3-43C7-B0D4-DB11D7359E26}" dt="2022-05-16T08:49:11.991" v="691" actId="478"/>
          <ac:spMkLst>
            <pc:docMk/>
            <pc:sldMk cId="2077853568" sldId="2147469267"/>
            <ac:spMk id="39" creationId="{E7600ACC-D129-838A-0D6B-6649E2ADB779}"/>
          </ac:spMkLst>
        </pc:spChg>
        <pc:spChg chg="add mod">
          <ac:chgData name="Cyrille Scuri" userId="0ff3ad52-7312-41f1-b45c-1187e0d5d8d9" providerId="ADAL" clId="{4ED724D8-F7E3-43C7-B0D4-DB11D7359E26}" dt="2022-05-17T09:46:49.265" v="1916" actId="403"/>
          <ac:spMkLst>
            <pc:docMk/>
            <pc:sldMk cId="2077853568" sldId="2147469267"/>
            <ac:spMk id="40" creationId="{3B2DD528-DE89-3ADD-9A28-70946CEBA60A}"/>
          </ac:spMkLst>
        </pc:spChg>
        <pc:spChg chg="add mod">
          <ac:chgData name="Cyrille Scuri" userId="0ff3ad52-7312-41f1-b45c-1187e0d5d8d9" providerId="ADAL" clId="{4ED724D8-F7E3-43C7-B0D4-DB11D7359E26}" dt="2022-05-17T09:46:44.025" v="1914" actId="403"/>
          <ac:spMkLst>
            <pc:docMk/>
            <pc:sldMk cId="2077853568" sldId="2147469267"/>
            <ac:spMk id="41" creationId="{23D87939-3DF3-AD18-073C-E6A69BFDA9CE}"/>
          </ac:spMkLst>
        </pc:spChg>
        <pc:spChg chg="add mod">
          <ac:chgData name="Cyrille Scuri" userId="0ff3ad52-7312-41f1-b45c-1187e0d5d8d9" providerId="ADAL" clId="{4ED724D8-F7E3-43C7-B0D4-DB11D7359E26}" dt="2022-05-17T12:48:01.685" v="2383" actId="20577"/>
          <ac:spMkLst>
            <pc:docMk/>
            <pc:sldMk cId="2077853568" sldId="2147469267"/>
            <ac:spMk id="42" creationId="{0ED540F4-4A32-F970-ACC0-D5B4A0D36760}"/>
          </ac:spMkLst>
        </pc:spChg>
        <pc:spChg chg="mod">
          <ac:chgData name="Cyrille Scuri" userId="0ff3ad52-7312-41f1-b45c-1187e0d5d8d9" providerId="ADAL" clId="{4ED724D8-F7E3-43C7-B0D4-DB11D7359E26}" dt="2022-05-16T14:21:43.180" v="1604" actId="1037"/>
          <ac:spMkLst>
            <pc:docMk/>
            <pc:sldMk cId="2077853568" sldId="2147469267"/>
            <ac:spMk id="51" creationId="{0E951746-9548-2583-592F-DCF4BEE9F9BC}"/>
          </ac:spMkLst>
        </pc:sp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36" creationId="{0CF98FD2-41D2-E89B-11F4-CC32E283CA9A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37" creationId="{652AA8EB-63B5-7DB4-00D7-EFFACF6A4044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38" creationId="{229D9D98-AE8A-91B3-DEAF-E6EFC55CC6DE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48" creationId="{F7C5D234-759B-F7EB-7C0E-86D70FC0AE22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49" creationId="{104E9A8F-025C-A3B7-D7E2-B9581F1CB0BE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50" creationId="{947426ED-910A-BEB5-3ABB-286FE8F0B440}"/>
          </ac:picMkLst>
        </pc:picChg>
        <pc:picChg chg="mod">
          <ac:chgData name="Cyrille Scuri" userId="0ff3ad52-7312-41f1-b45c-1187e0d5d8d9" providerId="ADAL" clId="{4ED724D8-F7E3-43C7-B0D4-DB11D7359E26}" dt="2022-05-16T14:21:43.180" v="1604" actId="1037"/>
          <ac:picMkLst>
            <pc:docMk/>
            <pc:sldMk cId="2077853568" sldId="2147469267"/>
            <ac:picMk id="52" creationId="{76B0A9B3-8DCF-A3F8-FC78-0C866F5EA164}"/>
          </ac:picMkLst>
        </pc:picChg>
        <pc:cxnChg chg="add del mod">
          <ac:chgData name="Cyrille Scuri" userId="0ff3ad52-7312-41f1-b45c-1187e0d5d8d9" providerId="ADAL" clId="{4ED724D8-F7E3-43C7-B0D4-DB11D7359E26}" dt="2022-05-16T08:59:12.913" v="960" actId="478"/>
          <ac:cxnSpMkLst>
            <pc:docMk/>
            <pc:sldMk cId="2077853568" sldId="2147469267"/>
            <ac:cxnSpMk id="4" creationId="{2A24F319-3C72-CC05-C99B-CAA54A21EAB7}"/>
          </ac:cxnSpMkLst>
        </pc:cxnChg>
      </pc:sldChg>
      <pc:sldChg chg="addSp delSp modSp mod modAnim">
        <pc:chgData name="Cyrille Scuri" userId="0ff3ad52-7312-41f1-b45c-1187e0d5d8d9" providerId="ADAL" clId="{4ED724D8-F7E3-43C7-B0D4-DB11D7359E26}" dt="2022-05-17T11:23:00.112" v="2263" actId="1038"/>
        <pc:sldMkLst>
          <pc:docMk/>
          <pc:sldMk cId="855317441" sldId="2147469268"/>
        </pc:sldMkLst>
        <pc:spChg chg="del">
          <ac:chgData name="Cyrille Scuri" userId="0ff3ad52-7312-41f1-b45c-1187e0d5d8d9" providerId="ADAL" clId="{4ED724D8-F7E3-43C7-B0D4-DB11D7359E26}" dt="2022-05-13T10:04:22.902" v="78" actId="478"/>
          <ac:spMkLst>
            <pc:docMk/>
            <pc:sldMk cId="855317441" sldId="2147469268"/>
            <ac:spMk id="2" creationId="{2FDF0060-6703-6BC0-EE36-9B831FBFBF59}"/>
          </ac:spMkLst>
        </pc:spChg>
        <pc:spChg chg="add del mod">
          <ac:chgData name="Cyrille Scuri" userId="0ff3ad52-7312-41f1-b45c-1187e0d5d8d9" providerId="ADAL" clId="{4ED724D8-F7E3-43C7-B0D4-DB11D7359E26}" dt="2022-05-17T10:00:32.219" v="1940" actId="478"/>
          <ac:spMkLst>
            <pc:docMk/>
            <pc:sldMk cId="855317441" sldId="2147469268"/>
            <ac:spMk id="2" creationId="{92035BC3-19DF-742F-16E8-0D3D21CC24FC}"/>
          </ac:spMkLst>
        </pc:spChg>
        <pc:spChg chg="mod">
          <ac:chgData name="Cyrille Scuri" userId="0ff3ad52-7312-41f1-b45c-1187e0d5d8d9" providerId="ADAL" clId="{4ED724D8-F7E3-43C7-B0D4-DB11D7359E26}" dt="2022-05-17T09:57:39.675" v="1931" actId="208"/>
          <ac:spMkLst>
            <pc:docMk/>
            <pc:sldMk cId="855317441" sldId="2147469268"/>
            <ac:spMk id="8" creationId="{6EF9D717-1998-7D45-9EBE-55CF8691A10F}"/>
          </ac:spMkLst>
        </pc:spChg>
        <pc:spChg chg="del">
          <ac:chgData name="Cyrille Scuri" userId="0ff3ad52-7312-41f1-b45c-1187e0d5d8d9" providerId="ADAL" clId="{4ED724D8-F7E3-43C7-B0D4-DB11D7359E26}" dt="2022-05-13T10:29:38.758" v="179" actId="478"/>
          <ac:spMkLst>
            <pc:docMk/>
            <pc:sldMk cId="855317441" sldId="2147469268"/>
            <ac:spMk id="13" creationId="{2462A101-574E-1DE6-5CBC-CEEC44E4C750}"/>
          </ac:spMkLst>
        </pc:spChg>
        <pc:spChg chg="add mod">
          <ac:chgData name="Cyrille Scuri" userId="0ff3ad52-7312-41f1-b45c-1187e0d5d8d9" providerId="ADAL" clId="{4ED724D8-F7E3-43C7-B0D4-DB11D7359E26}" dt="2022-05-17T11:23:00.112" v="2263" actId="1038"/>
          <ac:spMkLst>
            <pc:docMk/>
            <pc:sldMk cId="855317441" sldId="2147469268"/>
            <ac:spMk id="14" creationId="{6BA24481-2034-04F7-FC6B-2373DAA49087}"/>
          </ac:spMkLst>
        </pc:spChg>
        <pc:spChg chg="mod">
          <ac:chgData name="Cyrille Scuri" userId="0ff3ad52-7312-41f1-b45c-1187e0d5d8d9" providerId="ADAL" clId="{4ED724D8-F7E3-43C7-B0D4-DB11D7359E26}" dt="2022-05-17T09:58:42.620" v="1939" actId="20577"/>
          <ac:spMkLst>
            <pc:docMk/>
            <pc:sldMk cId="855317441" sldId="2147469268"/>
            <ac:spMk id="41" creationId="{4F318C15-526A-E1CF-A2A3-DF266BB9A3BC}"/>
          </ac:spMkLst>
        </pc:spChg>
        <pc:picChg chg="add mod">
          <ac:chgData name="Cyrille Scuri" userId="0ff3ad52-7312-41f1-b45c-1187e0d5d8d9" providerId="ADAL" clId="{4ED724D8-F7E3-43C7-B0D4-DB11D7359E26}" dt="2022-05-13T10:32:45.941" v="244" actId="14100"/>
          <ac:picMkLst>
            <pc:docMk/>
            <pc:sldMk cId="855317441" sldId="2147469268"/>
            <ac:picMk id="4" creationId="{9E8F0A12-4AE1-DAA4-836B-FAF7DA82DF32}"/>
          </ac:picMkLst>
        </pc:picChg>
        <pc:picChg chg="del mod">
          <ac:chgData name="Cyrille Scuri" userId="0ff3ad52-7312-41f1-b45c-1187e0d5d8d9" providerId="ADAL" clId="{4ED724D8-F7E3-43C7-B0D4-DB11D7359E26}" dt="2022-05-13T10:32:13.999" v="235" actId="478"/>
          <ac:picMkLst>
            <pc:docMk/>
            <pc:sldMk cId="855317441" sldId="2147469268"/>
            <ac:picMk id="39" creationId="{3AECFEF0-2B44-725A-7387-37F49BE91547}"/>
          </ac:picMkLst>
        </pc:picChg>
      </pc:sldChg>
      <pc:sldChg chg="delSp modSp mod ord modNotesTx">
        <pc:chgData name="Cyrille Scuri" userId="0ff3ad52-7312-41f1-b45c-1187e0d5d8d9" providerId="ADAL" clId="{4ED724D8-F7E3-43C7-B0D4-DB11D7359E26}" dt="2022-05-17T11:24:23.629" v="2325" actId="20577"/>
        <pc:sldMkLst>
          <pc:docMk/>
          <pc:sldMk cId="2491877017" sldId="2147469269"/>
        </pc:sldMkLst>
        <pc:spChg chg="del mod">
          <ac:chgData name="Cyrille Scuri" userId="0ff3ad52-7312-41f1-b45c-1187e0d5d8d9" providerId="ADAL" clId="{4ED724D8-F7E3-43C7-B0D4-DB11D7359E26}" dt="2022-05-16T09:19:01.681" v="1110" actId="478"/>
          <ac:spMkLst>
            <pc:docMk/>
            <pc:sldMk cId="2491877017" sldId="2147469269"/>
            <ac:spMk id="22" creationId="{48AEAFC4-95F3-9C3B-B004-0A191831C76C}"/>
          </ac:spMkLst>
        </pc:spChg>
        <pc:spChg chg="mod">
          <ac:chgData name="Cyrille Scuri" userId="0ff3ad52-7312-41f1-b45c-1187e0d5d8d9" providerId="ADAL" clId="{4ED724D8-F7E3-43C7-B0D4-DB11D7359E26}" dt="2022-05-16T10:40:51.431" v="1300" actId="122"/>
          <ac:spMkLst>
            <pc:docMk/>
            <pc:sldMk cId="2491877017" sldId="2147469269"/>
            <ac:spMk id="87" creationId="{64A7B079-C54D-F3C0-DE72-6082A0251ED2}"/>
          </ac:spMkLst>
        </pc:spChg>
        <pc:spChg chg="mod">
          <ac:chgData name="Cyrille Scuri" userId="0ff3ad52-7312-41f1-b45c-1187e0d5d8d9" providerId="ADAL" clId="{4ED724D8-F7E3-43C7-B0D4-DB11D7359E26}" dt="2022-05-16T09:10:51.269" v="1024" actId="1035"/>
          <ac:spMkLst>
            <pc:docMk/>
            <pc:sldMk cId="2491877017" sldId="2147469269"/>
            <ac:spMk id="89" creationId="{347A0B42-D375-51BF-4FD6-DD45858BE0CB}"/>
          </ac:spMkLst>
        </pc:spChg>
        <pc:spChg chg="mod">
          <ac:chgData name="Cyrille Scuri" userId="0ff3ad52-7312-41f1-b45c-1187e0d5d8d9" providerId="ADAL" clId="{4ED724D8-F7E3-43C7-B0D4-DB11D7359E26}" dt="2022-05-16T10:40:54.084" v="1301" actId="122"/>
          <ac:spMkLst>
            <pc:docMk/>
            <pc:sldMk cId="2491877017" sldId="2147469269"/>
            <ac:spMk id="90" creationId="{F50886D8-EC34-8FB4-C35F-F832CC5B4C9B}"/>
          </ac:spMkLst>
        </pc:spChg>
        <pc:spChg chg="mod">
          <ac:chgData name="Cyrille Scuri" userId="0ff3ad52-7312-41f1-b45c-1187e0d5d8d9" providerId="ADAL" clId="{4ED724D8-F7E3-43C7-B0D4-DB11D7359E26}" dt="2022-05-16T09:11:44.822" v="1030" actId="20577"/>
          <ac:spMkLst>
            <pc:docMk/>
            <pc:sldMk cId="2491877017" sldId="2147469269"/>
            <ac:spMk id="91" creationId="{23B71B65-CE00-1688-45EC-4401B3DBB535}"/>
          </ac:spMkLst>
        </pc:spChg>
        <pc:spChg chg="mod">
          <ac:chgData name="Cyrille Scuri" userId="0ff3ad52-7312-41f1-b45c-1187e0d5d8d9" providerId="ADAL" clId="{4ED724D8-F7E3-43C7-B0D4-DB11D7359E26}" dt="2022-05-17T09:39:09.847" v="1859" actId="20577"/>
          <ac:spMkLst>
            <pc:docMk/>
            <pc:sldMk cId="2491877017" sldId="2147469269"/>
            <ac:spMk id="92" creationId="{647DB194-D391-F274-66D3-0ECCB094DDFD}"/>
          </ac:spMkLst>
        </pc:spChg>
        <pc:spChg chg="mod">
          <ac:chgData name="Cyrille Scuri" userId="0ff3ad52-7312-41f1-b45c-1187e0d5d8d9" providerId="ADAL" clId="{4ED724D8-F7E3-43C7-B0D4-DB11D7359E26}" dt="2022-05-17T09:38:41.927" v="1855" actId="1035"/>
          <ac:spMkLst>
            <pc:docMk/>
            <pc:sldMk cId="2491877017" sldId="2147469269"/>
            <ac:spMk id="93" creationId="{0416EEE3-1B98-B0AC-6839-F7F2AFB64A7C}"/>
          </ac:spMkLst>
        </pc:spChg>
        <pc:spChg chg="mod">
          <ac:chgData name="Cyrille Scuri" userId="0ff3ad52-7312-41f1-b45c-1187e0d5d8d9" providerId="ADAL" clId="{4ED724D8-F7E3-43C7-B0D4-DB11D7359E26}" dt="2022-05-17T09:38:41.927" v="1855" actId="1035"/>
          <ac:spMkLst>
            <pc:docMk/>
            <pc:sldMk cId="2491877017" sldId="2147469269"/>
            <ac:spMk id="98" creationId="{A6D38A1B-5D1F-1E76-857E-D9F997805480}"/>
          </ac:spMkLst>
        </pc:spChg>
        <pc:spChg chg="mod">
          <ac:chgData name="Cyrille Scuri" userId="0ff3ad52-7312-41f1-b45c-1187e0d5d8d9" providerId="ADAL" clId="{4ED724D8-F7E3-43C7-B0D4-DB11D7359E26}" dt="2022-05-16T09:10:51.269" v="1024" actId="1035"/>
          <ac:spMkLst>
            <pc:docMk/>
            <pc:sldMk cId="2491877017" sldId="2147469269"/>
            <ac:spMk id="99" creationId="{D9647920-5CC5-6F4D-8352-AE8D8C545A32}"/>
          </ac:spMkLst>
        </pc:spChg>
        <pc:spChg chg="mod">
          <ac:chgData name="Cyrille Scuri" userId="0ff3ad52-7312-41f1-b45c-1187e0d5d8d9" providerId="ADAL" clId="{4ED724D8-F7E3-43C7-B0D4-DB11D7359E26}" dt="2022-05-17T11:24:23.629" v="2325" actId="20577"/>
          <ac:spMkLst>
            <pc:docMk/>
            <pc:sldMk cId="2491877017" sldId="2147469269"/>
            <ac:spMk id="104" creationId="{A9410F86-465F-17E8-0A8E-D272C7AEBC61}"/>
          </ac:spMkLst>
        </pc:spChg>
        <pc:picChg chg="mod">
          <ac:chgData name="Cyrille Scuri" userId="0ff3ad52-7312-41f1-b45c-1187e0d5d8d9" providerId="ADAL" clId="{4ED724D8-F7E3-43C7-B0D4-DB11D7359E26}" dt="2022-05-17T09:38:41.927" v="1855" actId="1035"/>
          <ac:picMkLst>
            <pc:docMk/>
            <pc:sldMk cId="2491877017" sldId="2147469269"/>
            <ac:picMk id="85" creationId="{11860D6A-41E0-CC48-FC48-CF75577CD867}"/>
          </ac:picMkLst>
        </pc:picChg>
        <pc:picChg chg="mod">
          <ac:chgData name="Cyrille Scuri" userId="0ff3ad52-7312-41f1-b45c-1187e0d5d8d9" providerId="ADAL" clId="{4ED724D8-F7E3-43C7-B0D4-DB11D7359E26}" dt="2022-05-16T09:10:51.269" v="1024" actId="1035"/>
          <ac:picMkLst>
            <pc:docMk/>
            <pc:sldMk cId="2491877017" sldId="2147469269"/>
            <ac:picMk id="86" creationId="{FF0E93F1-A75A-4BE9-E622-9E1DD8D1BDBF}"/>
          </ac:picMkLst>
        </pc:picChg>
        <pc:picChg chg="mod">
          <ac:chgData name="Cyrille Scuri" userId="0ff3ad52-7312-41f1-b45c-1187e0d5d8d9" providerId="ADAL" clId="{4ED724D8-F7E3-43C7-B0D4-DB11D7359E26}" dt="2022-05-16T09:10:51.269" v="1024" actId="1035"/>
          <ac:picMkLst>
            <pc:docMk/>
            <pc:sldMk cId="2491877017" sldId="2147469269"/>
            <ac:picMk id="88" creationId="{0476D6B2-2BD4-7DC4-DCC5-02DB7572BF60}"/>
          </ac:picMkLst>
        </pc:picChg>
        <pc:picChg chg="mod">
          <ac:chgData name="Cyrille Scuri" userId="0ff3ad52-7312-41f1-b45c-1187e0d5d8d9" providerId="ADAL" clId="{4ED724D8-F7E3-43C7-B0D4-DB11D7359E26}" dt="2022-05-16T09:10:51.269" v="1024" actId="1035"/>
          <ac:picMkLst>
            <pc:docMk/>
            <pc:sldMk cId="2491877017" sldId="2147469269"/>
            <ac:picMk id="94" creationId="{1AE7520E-69EF-403A-4646-C072482DCECC}"/>
          </ac:picMkLst>
        </pc:picChg>
        <pc:picChg chg="mod">
          <ac:chgData name="Cyrille Scuri" userId="0ff3ad52-7312-41f1-b45c-1187e0d5d8d9" providerId="ADAL" clId="{4ED724D8-F7E3-43C7-B0D4-DB11D7359E26}" dt="2022-05-16T09:10:51.269" v="1024" actId="1035"/>
          <ac:picMkLst>
            <pc:docMk/>
            <pc:sldMk cId="2491877017" sldId="2147469269"/>
            <ac:picMk id="95" creationId="{FE6A7B09-594E-83B1-33CB-B24216D04DFC}"/>
          </ac:picMkLst>
        </pc:picChg>
        <pc:picChg chg="mod">
          <ac:chgData name="Cyrille Scuri" userId="0ff3ad52-7312-41f1-b45c-1187e0d5d8d9" providerId="ADAL" clId="{4ED724D8-F7E3-43C7-B0D4-DB11D7359E26}" dt="2022-05-17T09:38:41.927" v="1855" actId="1035"/>
          <ac:picMkLst>
            <pc:docMk/>
            <pc:sldMk cId="2491877017" sldId="2147469269"/>
            <ac:picMk id="96" creationId="{D2E66166-AAC8-8E61-4DFE-C63A283859EB}"/>
          </ac:picMkLst>
        </pc:picChg>
        <pc:picChg chg="mod">
          <ac:chgData name="Cyrille Scuri" userId="0ff3ad52-7312-41f1-b45c-1187e0d5d8d9" providerId="ADAL" clId="{4ED724D8-F7E3-43C7-B0D4-DB11D7359E26}" dt="2022-05-17T09:38:41.927" v="1855" actId="1035"/>
          <ac:picMkLst>
            <pc:docMk/>
            <pc:sldMk cId="2491877017" sldId="2147469269"/>
            <ac:picMk id="97" creationId="{92A27F37-A8F7-7693-ADEA-AF66E50E509B}"/>
          </ac:picMkLst>
        </pc:picChg>
      </pc:sldChg>
      <pc:sldChg chg="addSp delSp modSp new del mod">
        <pc:chgData name="Cyrille Scuri" userId="0ff3ad52-7312-41f1-b45c-1187e0d5d8d9" providerId="ADAL" clId="{4ED724D8-F7E3-43C7-B0D4-DB11D7359E26}" dt="2022-05-13T10:30:49.642" v="234" actId="47"/>
        <pc:sldMkLst>
          <pc:docMk/>
          <pc:sldMk cId="3204222030" sldId="2147469270"/>
        </pc:sldMkLst>
        <pc:spChg chg="del">
          <ac:chgData name="Cyrille Scuri" userId="0ff3ad52-7312-41f1-b45c-1187e0d5d8d9" providerId="ADAL" clId="{4ED724D8-F7E3-43C7-B0D4-DB11D7359E26}" dt="2022-05-13T10:08:46.897" v="81" actId="478"/>
          <ac:spMkLst>
            <pc:docMk/>
            <pc:sldMk cId="3204222030" sldId="2147469270"/>
            <ac:spMk id="3" creationId="{F22F2BA9-FE49-AA3F-888B-B7415D3CEB81}"/>
          </ac:spMkLst>
        </pc:spChg>
        <pc:graphicFrameChg chg="add mod">
          <ac:chgData name="Cyrille Scuri" userId="0ff3ad52-7312-41f1-b45c-1187e0d5d8d9" providerId="ADAL" clId="{4ED724D8-F7E3-43C7-B0D4-DB11D7359E26}" dt="2022-05-13T10:25:27.183" v="147" actId="255"/>
          <ac:graphicFrameMkLst>
            <pc:docMk/>
            <pc:sldMk cId="3204222030" sldId="2147469270"/>
            <ac:graphicFrameMk id="9" creationId="{F15F0F16-ADA0-C056-3951-7C9B1EF846DD}"/>
          </ac:graphicFrameMkLst>
        </pc:graphicFrameChg>
        <pc:picChg chg="add mod">
          <ac:chgData name="Cyrille Scuri" userId="0ff3ad52-7312-41f1-b45c-1187e0d5d8d9" providerId="ADAL" clId="{4ED724D8-F7E3-43C7-B0D4-DB11D7359E26}" dt="2022-05-13T10:22:48.781" v="130" actId="1076"/>
          <ac:picMkLst>
            <pc:docMk/>
            <pc:sldMk cId="3204222030" sldId="2147469270"/>
            <ac:picMk id="6" creationId="{4CFB0554-4793-D6C9-A188-230FE8F6307E}"/>
          </ac:picMkLst>
        </pc:picChg>
      </pc:sldChg>
      <pc:sldChg chg="add del">
        <pc:chgData name="Cyrille Scuri" userId="0ff3ad52-7312-41f1-b45c-1187e0d5d8d9" providerId="ADAL" clId="{4ED724D8-F7E3-43C7-B0D4-DB11D7359E26}" dt="2022-05-13T11:44:15.881" v="672" actId="47"/>
        <pc:sldMkLst>
          <pc:docMk/>
          <pc:sldMk cId="636199862" sldId="2147469271"/>
        </pc:sldMkLst>
      </pc:sldChg>
      <pc:sldChg chg="addSp delSp modSp add mod delAnim modAnim">
        <pc:chgData name="Cyrille Scuri" userId="0ff3ad52-7312-41f1-b45c-1187e0d5d8d9" providerId="ADAL" clId="{4ED724D8-F7E3-43C7-B0D4-DB11D7359E26}" dt="2022-05-17T11:23:30.786" v="2322" actId="1038"/>
        <pc:sldMkLst>
          <pc:docMk/>
          <pc:sldMk cId="2467390400" sldId="2147469272"/>
        </pc:sldMkLst>
        <pc:spChg chg="add mod">
          <ac:chgData name="Cyrille Scuri" userId="0ff3ad52-7312-41f1-b45c-1187e0d5d8d9" providerId="ADAL" clId="{4ED724D8-F7E3-43C7-B0D4-DB11D7359E26}" dt="2022-05-17T11:19:28.668" v="2129" actId="14100"/>
          <ac:spMkLst>
            <pc:docMk/>
            <pc:sldMk cId="2467390400" sldId="2147469272"/>
            <ac:spMk id="2" creationId="{BEB5568E-12F9-CED6-6388-8A6D8CEFB7B4}"/>
          </ac:spMkLst>
        </pc:spChg>
        <pc:spChg chg="mod">
          <ac:chgData name="Cyrille Scuri" userId="0ff3ad52-7312-41f1-b45c-1187e0d5d8d9" providerId="ADAL" clId="{4ED724D8-F7E3-43C7-B0D4-DB11D7359E26}" dt="2022-05-17T10:28:15.561" v="2056"/>
          <ac:spMkLst>
            <pc:docMk/>
            <pc:sldMk cId="2467390400" sldId="2147469272"/>
            <ac:spMk id="8" creationId="{6EF9D717-1998-7D45-9EBE-55CF8691A10F}"/>
          </ac:spMkLst>
        </pc:spChg>
        <pc:spChg chg="del">
          <ac:chgData name="Cyrille Scuri" userId="0ff3ad52-7312-41f1-b45c-1187e0d5d8d9" providerId="ADAL" clId="{4ED724D8-F7E3-43C7-B0D4-DB11D7359E26}" dt="2022-05-13T10:26:21.520" v="151" actId="478"/>
          <ac:spMkLst>
            <pc:docMk/>
            <pc:sldMk cId="2467390400" sldId="2147469272"/>
            <ac:spMk id="13" creationId="{2462A101-574E-1DE6-5CBC-CEEC44E4C750}"/>
          </ac:spMkLst>
        </pc:spChg>
        <pc:spChg chg="del">
          <ac:chgData name="Cyrille Scuri" userId="0ff3ad52-7312-41f1-b45c-1187e0d5d8d9" providerId="ADAL" clId="{4ED724D8-F7E3-43C7-B0D4-DB11D7359E26}" dt="2022-05-13T10:30:00.208" v="182" actId="478"/>
          <ac:spMkLst>
            <pc:docMk/>
            <pc:sldMk cId="2467390400" sldId="2147469272"/>
            <ac:spMk id="14" creationId="{6BA24481-2034-04F7-FC6B-2373DAA49087}"/>
          </ac:spMkLst>
        </pc:spChg>
        <pc:spChg chg="add del mod">
          <ac:chgData name="Cyrille Scuri" userId="0ff3ad52-7312-41f1-b45c-1187e0d5d8d9" providerId="ADAL" clId="{4ED724D8-F7E3-43C7-B0D4-DB11D7359E26}" dt="2022-05-17T11:23:30.786" v="2322" actId="1038"/>
          <ac:spMkLst>
            <pc:docMk/>
            <pc:sldMk cId="2467390400" sldId="2147469272"/>
            <ac:spMk id="16" creationId="{A3228153-5687-266D-6C7D-3D3B6CAB31D2}"/>
          </ac:spMkLst>
        </pc:spChg>
        <pc:spChg chg="del">
          <ac:chgData name="Cyrille Scuri" userId="0ff3ad52-7312-41f1-b45c-1187e0d5d8d9" providerId="ADAL" clId="{4ED724D8-F7E3-43C7-B0D4-DB11D7359E26}" dt="2022-05-13T10:26:19.475" v="150" actId="478"/>
          <ac:spMkLst>
            <pc:docMk/>
            <pc:sldMk cId="2467390400" sldId="2147469272"/>
            <ac:spMk id="41" creationId="{4F318C15-526A-E1CF-A2A3-DF266BB9A3BC}"/>
          </ac:spMkLst>
        </pc:spChg>
        <pc:graphicFrameChg chg="add mod">
          <ac:chgData name="Cyrille Scuri" userId="0ff3ad52-7312-41f1-b45c-1187e0d5d8d9" providerId="ADAL" clId="{4ED724D8-F7E3-43C7-B0D4-DB11D7359E26}" dt="2022-05-13T10:40:06.878" v="465" actId="1036"/>
          <ac:graphicFrameMkLst>
            <pc:docMk/>
            <pc:sldMk cId="2467390400" sldId="2147469272"/>
            <ac:graphicFrameMk id="15" creationId="{1521F160-2786-CD7E-C512-43645C8AB52F}"/>
          </ac:graphicFrameMkLst>
        </pc:graphicFrameChg>
        <pc:picChg chg="del">
          <ac:chgData name="Cyrille Scuri" userId="0ff3ad52-7312-41f1-b45c-1187e0d5d8d9" providerId="ADAL" clId="{4ED724D8-F7E3-43C7-B0D4-DB11D7359E26}" dt="2022-05-13T10:26:18.314" v="149" actId="478"/>
          <ac:picMkLst>
            <pc:docMk/>
            <pc:sldMk cId="2467390400" sldId="2147469272"/>
            <ac:picMk id="39" creationId="{3AECFEF0-2B44-725A-7387-37F49BE91547}"/>
          </ac:picMkLst>
        </pc:picChg>
      </pc:sldChg>
      <pc:sldChg chg="delSp modSp add del mod delAnim">
        <pc:chgData name="Cyrille Scuri" userId="0ff3ad52-7312-41f1-b45c-1187e0d5d8d9" providerId="ADAL" clId="{4ED724D8-F7E3-43C7-B0D4-DB11D7359E26}" dt="2022-05-13T10:48:40.444" v="644" actId="47"/>
        <pc:sldMkLst>
          <pc:docMk/>
          <pc:sldMk cId="742166061" sldId="2147469273"/>
        </pc:sldMkLst>
        <pc:spChg chg="del">
          <ac:chgData name="Cyrille Scuri" userId="0ff3ad52-7312-41f1-b45c-1187e0d5d8d9" providerId="ADAL" clId="{4ED724D8-F7E3-43C7-B0D4-DB11D7359E26}" dt="2022-05-13T10:37:11.968" v="299" actId="478"/>
          <ac:spMkLst>
            <pc:docMk/>
            <pc:sldMk cId="742166061" sldId="2147469273"/>
            <ac:spMk id="19" creationId="{5495507B-9698-E4B2-B4C7-9A71302C6479}"/>
          </ac:spMkLst>
        </pc:spChg>
        <pc:spChg chg="del">
          <ac:chgData name="Cyrille Scuri" userId="0ff3ad52-7312-41f1-b45c-1187e0d5d8d9" providerId="ADAL" clId="{4ED724D8-F7E3-43C7-B0D4-DB11D7359E26}" dt="2022-05-13T10:37:13.773" v="300" actId="478"/>
          <ac:spMkLst>
            <pc:docMk/>
            <pc:sldMk cId="742166061" sldId="2147469273"/>
            <ac:spMk id="20" creationId="{1C6CFFA9-0A69-9D31-637F-714419DC03DD}"/>
          </ac:spMkLst>
        </pc:spChg>
        <pc:spChg chg="del">
          <ac:chgData name="Cyrille Scuri" userId="0ff3ad52-7312-41f1-b45c-1187e0d5d8d9" providerId="ADAL" clId="{4ED724D8-F7E3-43C7-B0D4-DB11D7359E26}" dt="2022-05-13T10:37:08.604" v="297" actId="478"/>
          <ac:spMkLst>
            <pc:docMk/>
            <pc:sldMk cId="742166061" sldId="2147469273"/>
            <ac:spMk id="21" creationId="{20C9DAB5-BD77-BE4C-9769-B08A40658135}"/>
          </ac:spMkLst>
        </pc:spChg>
        <pc:spChg chg="del">
          <ac:chgData name="Cyrille Scuri" userId="0ff3ad52-7312-41f1-b45c-1187e0d5d8d9" providerId="ADAL" clId="{4ED724D8-F7E3-43C7-B0D4-DB11D7359E26}" dt="2022-05-13T10:37:17.412" v="301" actId="478"/>
          <ac:spMkLst>
            <pc:docMk/>
            <pc:sldMk cId="742166061" sldId="2147469273"/>
            <ac:spMk id="22" creationId="{07D49F20-7A49-C178-58FD-47859236C5CF}"/>
          </ac:spMkLst>
        </pc:spChg>
        <pc:spChg chg="del mod">
          <ac:chgData name="Cyrille Scuri" userId="0ff3ad52-7312-41f1-b45c-1187e0d5d8d9" providerId="ADAL" clId="{4ED724D8-F7E3-43C7-B0D4-DB11D7359E26}" dt="2022-05-13T10:37:21.088" v="303" actId="478"/>
          <ac:spMkLst>
            <pc:docMk/>
            <pc:sldMk cId="742166061" sldId="2147469273"/>
            <ac:spMk id="24" creationId="{C2422AF2-00CC-8428-AF09-D2DEA2273886}"/>
          </ac:spMkLst>
        </pc:spChg>
        <pc:grpChg chg="del">
          <ac:chgData name="Cyrille Scuri" userId="0ff3ad52-7312-41f1-b45c-1187e0d5d8d9" providerId="ADAL" clId="{4ED724D8-F7E3-43C7-B0D4-DB11D7359E26}" dt="2022-05-13T10:37:09.153" v="298" actId="478"/>
          <ac:grpSpMkLst>
            <pc:docMk/>
            <pc:sldMk cId="742166061" sldId="2147469273"/>
            <ac:grpSpMk id="13" creationId="{2C9FC594-9D78-AE2C-2916-77B1843ABBE8}"/>
          </ac:grpSpMkLst>
        </pc:grpChg>
      </pc:sldChg>
      <pc:sldChg chg="addSp delSp modSp add mod delAnim modAnim">
        <pc:chgData name="Cyrille Scuri" userId="0ff3ad52-7312-41f1-b45c-1187e0d5d8d9" providerId="ADAL" clId="{4ED724D8-F7E3-43C7-B0D4-DB11D7359E26}" dt="2022-05-17T09:44:34.319" v="1861" actId="20577"/>
        <pc:sldMkLst>
          <pc:docMk/>
          <pc:sldMk cId="1781419891" sldId="2147469273"/>
        </pc:sldMkLst>
        <pc:spChg chg="mod">
          <ac:chgData name="Cyrille Scuri" userId="0ff3ad52-7312-41f1-b45c-1187e0d5d8d9" providerId="ADAL" clId="{4ED724D8-F7E3-43C7-B0D4-DB11D7359E26}" dt="2022-05-16T10:42:07.566" v="1303" actId="403"/>
          <ac:spMkLst>
            <pc:docMk/>
            <pc:sldMk cId="1781419891" sldId="2147469273"/>
            <ac:spMk id="8" creationId="{6EF9D717-1998-7D45-9EBE-55CF8691A10F}"/>
          </ac:spMkLst>
        </pc:spChg>
        <pc:spChg chg="add mod">
          <ac:chgData name="Cyrille Scuri" userId="0ff3ad52-7312-41f1-b45c-1187e0d5d8d9" providerId="ADAL" clId="{4ED724D8-F7E3-43C7-B0D4-DB11D7359E26}" dt="2022-05-17T09:44:34.319" v="1861" actId="20577"/>
          <ac:spMkLst>
            <pc:docMk/>
            <pc:sldMk cId="1781419891" sldId="2147469273"/>
            <ac:spMk id="13" creationId="{75160785-FBAE-58D1-A125-3CE222253C6D}"/>
          </ac:spMkLst>
        </pc:spChg>
        <pc:spChg chg="add mod">
          <ac:chgData name="Cyrille Scuri" userId="0ff3ad52-7312-41f1-b45c-1187e0d5d8d9" providerId="ADAL" clId="{4ED724D8-F7E3-43C7-B0D4-DB11D7359E26}" dt="2022-05-16T10:39:31.283" v="1298" actId="1035"/>
          <ac:spMkLst>
            <pc:docMk/>
            <pc:sldMk cId="1781419891" sldId="2147469273"/>
            <ac:spMk id="18" creationId="{B6E31EB5-06DA-F933-CDA9-A88E6B4105A3}"/>
          </ac:spMkLst>
        </pc:spChg>
        <pc:spChg chg="del">
          <ac:chgData name="Cyrille Scuri" userId="0ff3ad52-7312-41f1-b45c-1187e0d5d8d9" providerId="ADAL" clId="{4ED724D8-F7E3-43C7-B0D4-DB11D7359E26}" dt="2022-05-16T10:33:35.876" v="1119" actId="478"/>
          <ac:spMkLst>
            <pc:docMk/>
            <pc:sldMk cId="1781419891" sldId="2147469273"/>
            <ac:spMk id="20" creationId="{46E628D0-DFD0-9912-D8C8-FB692663E1FD}"/>
          </ac:spMkLst>
        </pc:spChg>
        <pc:picChg chg="del">
          <ac:chgData name="Cyrille Scuri" userId="0ff3ad52-7312-41f1-b45c-1187e0d5d8d9" providerId="ADAL" clId="{4ED724D8-F7E3-43C7-B0D4-DB11D7359E26}" dt="2022-05-16T10:33:34.619" v="1118" actId="478"/>
          <ac:picMkLst>
            <pc:docMk/>
            <pc:sldMk cId="1781419891" sldId="2147469273"/>
            <ac:picMk id="14" creationId="{147BC089-E0B3-E19A-E533-88178A31AD16}"/>
          </ac:picMkLst>
        </pc:picChg>
        <pc:picChg chg="del">
          <ac:chgData name="Cyrille Scuri" userId="0ff3ad52-7312-41f1-b45c-1187e0d5d8d9" providerId="ADAL" clId="{4ED724D8-F7E3-43C7-B0D4-DB11D7359E26}" dt="2022-05-16T10:33:37.216" v="1120" actId="478"/>
          <ac:picMkLst>
            <pc:docMk/>
            <pc:sldMk cId="1781419891" sldId="2147469273"/>
            <ac:picMk id="15" creationId="{4A5FD1E6-451F-EFE7-43A7-7606D588AB12}"/>
          </ac:picMkLst>
        </pc:picChg>
        <pc:picChg chg="del">
          <ac:chgData name="Cyrille Scuri" userId="0ff3ad52-7312-41f1-b45c-1187e0d5d8d9" providerId="ADAL" clId="{4ED724D8-F7E3-43C7-B0D4-DB11D7359E26}" dt="2022-05-16T10:33:38.190" v="1121" actId="478"/>
          <ac:picMkLst>
            <pc:docMk/>
            <pc:sldMk cId="1781419891" sldId="2147469273"/>
            <ac:picMk id="16" creationId="{647333B3-EEA1-776F-23C9-384B70A89463}"/>
          </ac:picMkLst>
        </pc:picChg>
        <pc:picChg chg="del">
          <ac:chgData name="Cyrille Scuri" userId="0ff3ad52-7312-41f1-b45c-1187e0d5d8d9" providerId="ADAL" clId="{4ED724D8-F7E3-43C7-B0D4-DB11D7359E26}" dt="2022-05-16T10:33:38.861" v="1122" actId="478"/>
          <ac:picMkLst>
            <pc:docMk/>
            <pc:sldMk cId="1781419891" sldId="2147469273"/>
            <ac:picMk id="17" creationId="{0326AEFA-7EA1-9ACD-7D68-6BB63235EB93}"/>
          </ac:picMkLst>
        </pc:picChg>
        <pc:picChg chg="add mod">
          <ac:chgData name="Cyrille Scuri" userId="0ff3ad52-7312-41f1-b45c-1187e0d5d8d9" providerId="ADAL" clId="{4ED724D8-F7E3-43C7-B0D4-DB11D7359E26}" dt="2022-05-16T10:39:31.283" v="1298" actId="1035"/>
          <ac:picMkLst>
            <pc:docMk/>
            <pc:sldMk cId="1781419891" sldId="2147469273"/>
            <ac:picMk id="19" creationId="{5304E40E-BA97-D292-6C52-EF4C9363BFE5}"/>
          </ac:picMkLst>
        </pc:picChg>
        <pc:picChg chg="add mod">
          <ac:chgData name="Cyrille Scuri" userId="0ff3ad52-7312-41f1-b45c-1187e0d5d8d9" providerId="ADAL" clId="{4ED724D8-F7E3-43C7-B0D4-DB11D7359E26}" dt="2022-05-16T10:39:31.283" v="1298" actId="1035"/>
          <ac:picMkLst>
            <pc:docMk/>
            <pc:sldMk cId="1781419891" sldId="2147469273"/>
            <ac:picMk id="21" creationId="{81B775C3-1E89-EEFB-F514-2A689E155706}"/>
          </ac:picMkLst>
        </pc:picChg>
      </pc:sldChg>
    </pc:docChg>
  </pc:docChgLst>
  <pc:docChgLst>
    <pc:chgData name="Cyrille Scuri" userId="0ff3ad52-7312-41f1-b45c-1187e0d5d8d9" providerId="ADAL" clId="{C2009521-DA9B-4BC1-84E0-1D06906F21A7}"/>
    <pc:docChg chg="undo custSel addSld delSld modSld sldOrd">
      <pc:chgData name="Cyrille Scuri" userId="0ff3ad52-7312-41f1-b45c-1187e0d5d8d9" providerId="ADAL" clId="{C2009521-DA9B-4BC1-84E0-1D06906F21A7}" dt="2022-05-11T15:35:32.262" v="302" actId="20577"/>
      <pc:docMkLst>
        <pc:docMk/>
      </pc:docMkLst>
      <pc:sldChg chg="addSp delSp modSp mod">
        <pc:chgData name="Cyrille Scuri" userId="0ff3ad52-7312-41f1-b45c-1187e0d5d8d9" providerId="ADAL" clId="{C2009521-DA9B-4BC1-84E0-1D06906F21A7}" dt="2022-05-11T15:27:54.832" v="240" actId="1076"/>
        <pc:sldMkLst>
          <pc:docMk/>
          <pc:sldMk cId="1462500275" sldId="3864"/>
        </pc:sldMkLst>
        <pc:picChg chg="mod">
          <ac:chgData name="Cyrille Scuri" userId="0ff3ad52-7312-41f1-b45c-1187e0d5d8d9" providerId="ADAL" clId="{C2009521-DA9B-4BC1-84E0-1D06906F21A7}" dt="2022-05-11T15:27:54.832" v="240" actId="1076"/>
          <ac:picMkLst>
            <pc:docMk/>
            <pc:sldMk cId="1462500275" sldId="3864"/>
            <ac:picMk id="9" creationId="{3F2080E2-B202-8EC2-352C-98CA80BFA641}"/>
          </ac:picMkLst>
        </pc:picChg>
        <pc:picChg chg="add del">
          <ac:chgData name="Cyrille Scuri" userId="0ff3ad52-7312-41f1-b45c-1187e0d5d8d9" providerId="ADAL" clId="{C2009521-DA9B-4BC1-84E0-1D06906F21A7}" dt="2022-05-11T15:27:51.425" v="239" actId="478"/>
          <ac:picMkLst>
            <pc:docMk/>
            <pc:sldMk cId="1462500275" sldId="3864"/>
            <ac:picMk id="22" creationId="{E0797C44-9931-EE44-B7FA-3A9E1773914E}"/>
          </ac:picMkLst>
        </pc:picChg>
      </pc:sldChg>
      <pc:sldChg chg="modSp mod">
        <pc:chgData name="Cyrille Scuri" userId="0ff3ad52-7312-41f1-b45c-1187e0d5d8d9" providerId="ADAL" clId="{C2009521-DA9B-4BC1-84E0-1D06906F21A7}" dt="2022-05-11T15:28:41.239" v="258" actId="14100"/>
        <pc:sldMkLst>
          <pc:docMk/>
          <pc:sldMk cId="158698144" sldId="2076138255"/>
        </pc:sldMkLst>
        <pc:spChg chg="mod">
          <ac:chgData name="Cyrille Scuri" userId="0ff3ad52-7312-41f1-b45c-1187e0d5d8d9" providerId="ADAL" clId="{C2009521-DA9B-4BC1-84E0-1D06906F21A7}" dt="2022-05-11T15:28:33.744" v="257" actId="20577"/>
          <ac:spMkLst>
            <pc:docMk/>
            <pc:sldMk cId="158698144" sldId="2076138255"/>
            <ac:spMk id="9" creationId="{DC19C0F0-2AAD-4B72-9BA6-88ED6DC824C9}"/>
          </ac:spMkLst>
        </pc:spChg>
        <pc:picChg chg="mod">
          <ac:chgData name="Cyrille Scuri" userId="0ff3ad52-7312-41f1-b45c-1187e0d5d8d9" providerId="ADAL" clId="{C2009521-DA9B-4BC1-84E0-1D06906F21A7}" dt="2022-05-11T15:28:21.724" v="255" actId="1035"/>
          <ac:picMkLst>
            <pc:docMk/>
            <pc:sldMk cId="158698144" sldId="2076138255"/>
            <ac:picMk id="5" creationId="{2E7E8032-4EA0-4542-96D3-7BA53DB3120A}"/>
          </ac:picMkLst>
        </pc:picChg>
        <pc:picChg chg="mod">
          <ac:chgData name="Cyrille Scuri" userId="0ff3ad52-7312-41f1-b45c-1187e0d5d8d9" providerId="ADAL" clId="{C2009521-DA9B-4BC1-84E0-1D06906F21A7}" dt="2022-05-11T15:28:41.239" v="258" actId="14100"/>
          <ac:picMkLst>
            <pc:docMk/>
            <pc:sldMk cId="158698144" sldId="2076138255"/>
            <ac:picMk id="173060" creationId="{06CF6BAB-4CFC-B2E7-36AE-A4BEA899E118}"/>
          </ac:picMkLst>
        </pc:picChg>
      </pc:sldChg>
      <pc:sldChg chg="modSp mod modAnim modNotesTx">
        <pc:chgData name="Cyrille Scuri" userId="0ff3ad52-7312-41f1-b45c-1187e0d5d8d9" providerId="ADAL" clId="{C2009521-DA9B-4BC1-84E0-1D06906F21A7}" dt="2022-05-11T15:35:24.871" v="298" actId="20577"/>
        <pc:sldMkLst>
          <pc:docMk/>
          <pc:sldMk cId="605296940" sldId="2147374993"/>
        </pc:sldMkLst>
        <pc:spChg chg="mod">
          <ac:chgData name="Cyrille Scuri" userId="0ff3ad52-7312-41f1-b45c-1187e0d5d8d9" providerId="ADAL" clId="{C2009521-DA9B-4BC1-84E0-1D06906F21A7}" dt="2022-05-11T15:18:38.778" v="159" actId="20577"/>
          <ac:spMkLst>
            <pc:docMk/>
            <pc:sldMk cId="605296940" sldId="2147374993"/>
            <ac:spMk id="19" creationId="{5495507B-9698-E4B2-B4C7-9A71302C6479}"/>
          </ac:spMkLst>
        </pc:spChg>
        <pc:spChg chg="mod">
          <ac:chgData name="Cyrille Scuri" userId="0ff3ad52-7312-41f1-b45c-1187e0d5d8d9" providerId="ADAL" clId="{C2009521-DA9B-4BC1-84E0-1D06906F21A7}" dt="2022-05-11T15:18:27.232" v="147" actId="1038"/>
          <ac:spMkLst>
            <pc:docMk/>
            <pc:sldMk cId="605296940" sldId="2147374993"/>
            <ac:spMk id="20" creationId="{1C6CFFA9-0A69-9D31-637F-714419DC03DD}"/>
          </ac:spMkLst>
        </pc:spChg>
        <pc:spChg chg="mod">
          <ac:chgData name="Cyrille Scuri" userId="0ff3ad52-7312-41f1-b45c-1187e0d5d8d9" providerId="ADAL" clId="{C2009521-DA9B-4BC1-84E0-1D06906F21A7}" dt="2022-05-11T15:18:55.980" v="164" actId="20577"/>
          <ac:spMkLst>
            <pc:docMk/>
            <pc:sldMk cId="605296940" sldId="2147374993"/>
            <ac:spMk id="22" creationId="{07D49F20-7A49-C178-58FD-47859236C5CF}"/>
          </ac:spMkLst>
        </pc:spChg>
      </pc:sldChg>
      <pc:sldChg chg="modSp mod modNotesTx">
        <pc:chgData name="Cyrille Scuri" userId="0ff3ad52-7312-41f1-b45c-1187e0d5d8d9" providerId="ADAL" clId="{C2009521-DA9B-4BC1-84E0-1D06906F21A7}" dt="2022-05-11T15:35:26.447" v="299" actId="20577"/>
        <pc:sldMkLst>
          <pc:docMk/>
          <pc:sldMk cId="618692422" sldId="2147375113"/>
        </pc:sldMkLst>
        <pc:spChg chg="mod">
          <ac:chgData name="Cyrille Scuri" userId="0ff3ad52-7312-41f1-b45c-1187e0d5d8d9" providerId="ADAL" clId="{C2009521-DA9B-4BC1-84E0-1D06906F21A7}" dt="2022-05-11T15:19:51.017" v="184" actId="1037"/>
          <ac:spMkLst>
            <pc:docMk/>
            <pc:sldMk cId="618692422" sldId="2147375113"/>
            <ac:spMk id="41" creationId="{65206C39-54F5-854C-5A8C-312BEDEC2FD0}"/>
          </ac:spMkLst>
        </pc:spChg>
        <pc:spChg chg="mod">
          <ac:chgData name="Cyrille Scuri" userId="0ff3ad52-7312-41f1-b45c-1187e0d5d8d9" providerId="ADAL" clId="{C2009521-DA9B-4BC1-84E0-1D06906F21A7}" dt="2022-05-11T15:21:54" v="194" actId="20577"/>
          <ac:spMkLst>
            <pc:docMk/>
            <pc:sldMk cId="618692422" sldId="2147375113"/>
            <ac:spMk id="48" creationId="{FF8DEF63-8E15-1F43-BF82-62C7EE134766}"/>
          </ac:spMkLst>
        </pc:spChg>
      </pc:sldChg>
      <pc:sldChg chg="modSp mod ord modNotesTx">
        <pc:chgData name="Cyrille Scuri" userId="0ff3ad52-7312-41f1-b45c-1187e0d5d8d9" providerId="ADAL" clId="{C2009521-DA9B-4BC1-84E0-1D06906F21A7}" dt="2022-05-11T15:35:29.804" v="301" actId="20577"/>
        <pc:sldMkLst>
          <pc:docMk/>
          <pc:sldMk cId="654889526" sldId="2147375114"/>
        </pc:sldMkLst>
        <pc:spChg chg="mod">
          <ac:chgData name="Cyrille Scuri" userId="0ff3ad52-7312-41f1-b45c-1187e0d5d8d9" providerId="ADAL" clId="{C2009521-DA9B-4BC1-84E0-1D06906F21A7}" dt="2022-05-11T15:22:01.273" v="197" actId="20577"/>
          <ac:spMkLst>
            <pc:docMk/>
            <pc:sldMk cId="654889526" sldId="2147375114"/>
            <ac:spMk id="48" creationId="{FF8DEF63-8E15-1F43-BF82-62C7EE134766}"/>
          </ac:spMkLst>
        </pc:spChg>
      </pc:sldChg>
      <pc:sldChg chg="addSp modSp mod modNotesTx">
        <pc:chgData name="Cyrille Scuri" userId="0ff3ad52-7312-41f1-b45c-1187e0d5d8d9" providerId="ADAL" clId="{C2009521-DA9B-4BC1-84E0-1D06906F21A7}" dt="2022-05-11T15:35:27.954" v="300" actId="20577"/>
        <pc:sldMkLst>
          <pc:docMk/>
          <pc:sldMk cId="3434891387" sldId="2147375117"/>
        </pc:sldMkLst>
        <pc:spChg chg="mod">
          <ac:chgData name="Cyrille Scuri" userId="0ff3ad52-7312-41f1-b45c-1187e0d5d8d9" providerId="ADAL" clId="{C2009521-DA9B-4BC1-84E0-1D06906F21A7}" dt="2022-05-11T15:30:00.864" v="263" actId="14100"/>
          <ac:spMkLst>
            <pc:docMk/>
            <pc:sldMk cId="3434891387" sldId="2147375117"/>
            <ac:spMk id="12" creationId="{BB0439D6-EAF4-B00A-31F6-60BC665ACCFB}"/>
          </ac:spMkLst>
        </pc:spChg>
        <pc:spChg chg="add mod">
          <ac:chgData name="Cyrille Scuri" userId="0ff3ad52-7312-41f1-b45c-1187e0d5d8d9" providerId="ADAL" clId="{C2009521-DA9B-4BC1-84E0-1D06906F21A7}" dt="2022-05-11T15:30:04.973" v="264" actId="14100"/>
          <ac:spMkLst>
            <pc:docMk/>
            <pc:sldMk cId="3434891387" sldId="2147375117"/>
            <ac:spMk id="14" creationId="{6F54438B-956D-7D0D-22B3-4315F2898F56}"/>
          </ac:spMkLst>
        </pc:spChg>
        <pc:spChg chg="mod">
          <ac:chgData name="Cyrille Scuri" userId="0ff3ad52-7312-41f1-b45c-1187e0d5d8d9" providerId="ADAL" clId="{C2009521-DA9B-4BC1-84E0-1D06906F21A7}" dt="2022-05-11T15:22:25.224" v="204" actId="2711"/>
          <ac:spMkLst>
            <pc:docMk/>
            <pc:sldMk cId="3434891387" sldId="2147375117"/>
            <ac:spMk id="48" creationId="{FF8DEF63-8E15-1F43-BF82-62C7EE134766}"/>
          </ac:spMkLst>
        </pc:spChg>
        <pc:picChg chg="mod modCrop">
          <ac:chgData name="Cyrille Scuri" userId="0ff3ad52-7312-41f1-b45c-1187e0d5d8d9" providerId="ADAL" clId="{C2009521-DA9B-4BC1-84E0-1D06906F21A7}" dt="2022-05-11T15:23:50.004" v="217" actId="1076"/>
          <ac:picMkLst>
            <pc:docMk/>
            <pc:sldMk cId="3434891387" sldId="2147375117"/>
            <ac:picMk id="3" creationId="{87B4816E-EBE6-6CD8-F779-E064E0D72A1E}"/>
          </ac:picMkLst>
        </pc:picChg>
        <pc:picChg chg="add mod">
          <ac:chgData name="Cyrille Scuri" userId="0ff3ad52-7312-41f1-b45c-1187e0d5d8d9" providerId="ADAL" clId="{C2009521-DA9B-4BC1-84E0-1D06906F21A7}" dt="2022-05-11T15:29:56.372" v="262" actId="1076"/>
          <ac:picMkLst>
            <pc:docMk/>
            <pc:sldMk cId="3434891387" sldId="2147375117"/>
            <ac:picMk id="11" creationId="{2A09B7EC-1C4F-881F-799C-EA1E435AF4A5}"/>
          </ac:picMkLst>
        </pc:picChg>
      </pc:sldChg>
      <pc:sldChg chg="addSp modSp modNotesTx">
        <pc:chgData name="Cyrille Scuri" userId="0ff3ad52-7312-41f1-b45c-1187e0d5d8d9" providerId="ADAL" clId="{C2009521-DA9B-4BC1-84E0-1D06906F21A7}" dt="2022-05-11T15:35:21.284" v="296" actId="20577"/>
        <pc:sldMkLst>
          <pc:docMk/>
          <pc:sldMk cId="125119581" sldId="2147469260"/>
        </pc:sldMkLst>
        <pc:picChg chg="add mod">
          <ac:chgData name="Cyrille Scuri" userId="0ff3ad52-7312-41f1-b45c-1187e0d5d8d9" providerId="ADAL" clId="{C2009521-DA9B-4BC1-84E0-1D06906F21A7}" dt="2022-05-11T15:26:09.289" v="237"/>
          <ac:picMkLst>
            <pc:docMk/>
            <pc:sldMk cId="125119581" sldId="2147469260"/>
            <ac:picMk id="60" creationId="{25F95C4D-AEE0-162D-D6ED-5E7B2CA2AAEC}"/>
          </ac:picMkLst>
        </pc:picChg>
      </pc:sldChg>
      <pc:sldChg chg="ord modNotesTx">
        <pc:chgData name="Cyrille Scuri" userId="0ff3ad52-7312-41f1-b45c-1187e0d5d8d9" providerId="ADAL" clId="{C2009521-DA9B-4BC1-84E0-1D06906F21A7}" dt="2022-05-11T15:35:32.262" v="302" actId="20577"/>
        <pc:sldMkLst>
          <pc:docMk/>
          <pc:sldMk cId="322557089" sldId="2147469261"/>
        </pc:sldMkLst>
      </pc:sldChg>
      <pc:sldChg chg="modSp del mod">
        <pc:chgData name="Cyrille Scuri" userId="0ff3ad52-7312-41f1-b45c-1187e0d5d8d9" providerId="ADAL" clId="{C2009521-DA9B-4BC1-84E0-1D06906F21A7}" dt="2022-05-11T15:24:04.614" v="222" actId="47"/>
        <pc:sldMkLst>
          <pc:docMk/>
          <pc:sldMk cId="3572855431" sldId="2147469262"/>
        </pc:sldMkLst>
        <pc:spChg chg="mod">
          <ac:chgData name="Cyrille Scuri" userId="0ff3ad52-7312-41f1-b45c-1187e0d5d8d9" providerId="ADAL" clId="{C2009521-DA9B-4BC1-84E0-1D06906F21A7}" dt="2022-05-11T15:23:57.498" v="219" actId="1076"/>
          <ac:spMkLst>
            <pc:docMk/>
            <pc:sldMk cId="3572855431" sldId="2147469262"/>
            <ac:spMk id="14" creationId="{989EC50C-D683-04FA-4BE6-AFD5F2F05263}"/>
          </ac:spMkLst>
        </pc:spChg>
        <pc:spChg chg="mod">
          <ac:chgData name="Cyrille Scuri" userId="0ff3ad52-7312-41f1-b45c-1187e0d5d8d9" providerId="ADAL" clId="{C2009521-DA9B-4BC1-84E0-1D06906F21A7}" dt="2022-05-11T15:21:39.661" v="191" actId="207"/>
          <ac:spMkLst>
            <pc:docMk/>
            <pc:sldMk cId="3572855431" sldId="2147469262"/>
            <ac:spMk id="48" creationId="{FF8DEF63-8E15-1F43-BF82-62C7EE134766}"/>
          </ac:spMkLst>
        </pc:spChg>
        <pc:picChg chg="mod modCrop">
          <ac:chgData name="Cyrille Scuri" userId="0ff3ad52-7312-41f1-b45c-1187e0d5d8d9" providerId="ADAL" clId="{C2009521-DA9B-4BC1-84E0-1D06906F21A7}" dt="2022-05-11T15:23:29.594" v="212" actId="14100"/>
          <ac:picMkLst>
            <pc:docMk/>
            <pc:sldMk cId="3572855431" sldId="2147469262"/>
            <ac:picMk id="4" creationId="{BC8B4DDF-6A14-55D8-C25A-48BE6259EF55}"/>
          </ac:picMkLst>
        </pc:picChg>
      </pc:sldChg>
      <pc:sldChg chg="addSp delSp modSp add mod modNotesTx">
        <pc:chgData name="Cyrille Scuri" userId="0ff3ad52-7312-41f1-b45c-1187e0d5d8d9" providerId="ADAL" clId="{C2009521-DA9B-4BC1-84E0-1D06906F21A7}" dt="2022-05-11T15:35:23.175" v="297" actId="20577"/>
        <pc:sldMkLst>
          <pc:docMk/>
          <pc:sldMk cId="3639388620" sldId="2147469262"/>
        </pc:sldMkLst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9" creationId="{4960EDDB-F8D1-F6DB-B552-3C5F854BA9A9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16" creationId="{8EC75922-816C-0BBD-8DF7-80E21D567DA6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17" creationId="{F2884A5E-248E-13A4-B927-F57ED3F1DC45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19" creationId="{FCC17758-132B-DA1C-BA98-FA1866F68ACA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21" creationId="{34F3B6BF-45E5-0AC8-6D4B-21268F864D3E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25" creationId="{64D86DC7-2D1C-9E98-0C2A-DC6570243825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26" creationId="{ACA80F25-91C7-E5F4-9916-056EE30CB1CC}"/>
          </ac:spMkLst>
        </pc:spChg>
        <pc:spChg chg="del">
          <ac:chgData name="Cyrille Scuri" userId="0ff3ad52-7312-41f1-b45c-1187e0d5d8d9" providerId="ADAL" clId="{C2009521-DA9B-4BC1-84E0-1D06906F21A7}" dt="2022-05-11T15:32:10.024" v="267" actId="478"/>
          <ac:spMkLst>
            <pc:docMk/>
            <pc:sldMk cId="3639388620" sldId="2147469262"/>
            <ac:spMk id="42" creationId="{93BC8AC4-DDA6-5A6B-F6B7-B39A41E692DE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44" creationId="{BEFC8BA0-1566-DDAA-99EC-C0FC0F612E35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45" creationId="{00433A57-66DC-4C08-D6AC-05C0AB6F0A41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46" creationId="{6BACA7C8-D66C-CD7E-B577-180D3F550A1B}"/>
          </ac:spMkLst>
        </pc:spChg>
        <pc:spChg chg="del">
          <ac:chgData name="Cyrille Scuri" userId="0ff3ad52-7312-41f1-b45c-1187e0d5d8d9" providerId="ADAL" clId="{C2009521-DA9B-4BC1-84E0-1D06906F21A7}" dt="2022-05-11T15:32:06.136" v="266" actId="478"/>
          <ac:spMkLst>
            <pc:docMk/>
            <pc:sldMk cId="3639388620" sldId="2147469262"/>
            <ac:spMk id="47" creationId="{4061C3E2-CA3C-BD8C-EA34-8856BCDF67F9}"/>
          </ac:spMkLst>
        </pc:spChg>
        <pc:spChg chg="del">
          <ac:chgData name="Cyrille Scuri" userId="0ff3ad52-7312-41f1-b45c-1187e0d5d8d9" providerId="ADAL" clId="{C2009521-DA9B-4BC1-84E0-1D06906F21A7}" dt="2022-05-11T15:32:12.650" v="268" actId="478"/>
          <ac:spMkLst>
            <pc:docMk/>
            <pc:sldMk cId="3639388620" sldId="2147469262"/>
            <ac:spMk id="48" creationId="{FF8DEF63-8E15-1F43-BF82-62C7EE134766}"/>
          </ac:spMkLst>
        </pc:spChg>
        <pc:spChg chg="add del mod">
          <ac:chgData name="Cyrille Scuri" userId="0ff3ad52-7312-41f1-b45c-1187e0d5d8d9" providerId="ADAL" clId="{C2009521-DA9B-4BC1-84E0-1D06906F21A7}" dt="2022-05-11T15:32:38.586" v="271"/>
          <ac:spMkLst>
            <pc:docMk/>
            <pc:sldMk cId="3639388620" sldId="2147469262"/>
            <ac:spMk id="61" creationId="{567F1B7D-C808-73FE-8ED2-20056B439F0F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69" creationId="{B7CCF908-86B5-22B8-4804-7A6DDECFB2C8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0" creationId="{17068679-2399-69F2-63CC-AC357C9D5329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2" creationId="{E3C00C3F-CD58-924E-B2F5-9AD256F37112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3" creationId="{A881A6F4-15C2-DA02-CE7D-F1482C7882F4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5" creationId="{B2855442-EF08-4AFA-E7FD-4D5C663C80C7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6" creationId="{0425C8E6-BA94-8BDC-C826-B91659B6FC85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8" creationId="{35E6567E-2210-4DFA-2E3E-C9B31CE436A5}"/>
          </ac:spMkLst>
        </pc:spChg>
        <pc:spChg chg="mod">
          <ac:chgData name="Cyrille Scuri" userId="0ff3ad52-7312-41f1-b45c-1187e0d5d8d9" providerId="ADAL" clId="{C2009521-DA9B-4BC1-84E0-1D06906F21A7}" dt="2022-05-11T15:32:35.676" v="270"/>
          <ac:spMkLst>
            <pc:docMk/>
            <pc:sldMk cId="3639388620" sldId="2147469262"/>
            <ac:spMk id="79" creationId="{272DA97D-5B7A-5B87-6CBD-D1A02D1D3BC1}"/>
          </ac:spMkLst>
        </pc:spChg>
        <pc:spChg chg="add del mod">
          <ac:chgData name="Cyrille Scuri" userId="0ff3ad52-7312-41f1-b45c-1187e0d5d8d9" providerId="ADAL" clId="{C2009521-DA9B-4BC1-84E0-1D06906F21A7}" dt="2022-05-11T15:32:38.586" v="271"/>
          <ac:spMkLst>
            <pc:docMk/>
            <pc:sldMk cId="3639388620" sldId="2147469262"/>
            <ac:spMk id="80" creationId="{42D06CEE-1D0D-A58C-1142-9E692445316E}"/>
          </ac:spMkLst>
        </pc:spChg>
        <pc:spChg chg="add del mod">
          <ac:chgData name="Cyrille Scuri" userId="0ff3ad52-7312-41f1-b45c-1187e0d5d8d9" providerId="ADAL" clId="{C2009521-DA9B-4BC1-84E0-1D06906F21A7}" dt="2022-05-11T15:32:38.586" v="271"/>
          <ac:spMkLst>
            <pc:docMk/>
            <pc:sldMk cId="3639388620" sldId="2147469262"/>
            <ac:spMk id="82" creationId="{84ADBAB4-4466-BEB5-D8F0-1A7D2E3AF309}"/>
          </ac:spMkLst>
        </pc:spChg>
        <pc:spChg chg="add 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83" creationId="{F80133AA-A3E6-6804-6B21-F0051661FAF3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85" creationId="{43626594-10B4-B7DD-C5F9-83DC8A9A9FD4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86" creationId="{93B86945-734F-5829-1031-E13D50F83B2D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88" creationId="{7E00DFE3-7C10-251C-77DF-0FF04B3D95CA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89" creationId="{B47386DF-1C57-407C-9C47-7CBE5DF6C736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91" creationId="{42360429-6A3B-6962-5772-813D25AAB88E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92" creationId="{7E58E800-3513-8038-7256-4FA8A5C8A4D7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94" creationId="{51F3357F-E707-5C5F-764B-B1011C7D3CF9}"/>
          </ac:spMkLst>
        </pc:spChg>
        <pc:spChg chg="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95" creationId="{85D31B29-F41D-5CB7-71F5-0A5D015F6821}"/>
          </ac:spMkLst>
        </pc:spChg>
        <pc:spChg chg="add mod">
          <ac:chgData name="Cyrille Scuri" userId="0ff3ad52-7312-41f1-b45c-1187e0d5d8d9" providerId="ADAL" clId="{C2009521-DA9B-4BC1-84E0-1D06906F21A7}" dt="2022-05-11T15:34:13.326" v="274"/>
          <ac:spMkLst>
            <pc:docMk/>
            <pc:sldMk cId="3639388620" sldId="2147469262"/>
            <ac:spMk id="96" creationId="{019C79A3-A8CD-DFA0-C40A-A9FAC14DCBD1}"/>
          </ac:spMkLst>
        </pc:spChg>
        <pc:spChg chg="add mod">
          <ac:chgData name="Cyrille Scuri" userId="0ff3ad52-7312-41f1-b45c-1187e0d5d8d9" providerId="ADAL" clId="{C2009521-DA9B-4BC1-84E0-1D06906F21A7}" dt="2022-05-11T15:32:41.290" v="272"/>
          <ac:spMkLst>
            <pc:docMk/>
            <pc:sldMk cId="3639388620" sldId="2147469262"/>
            <ac:spMk id="98" creationId="{868A9CA5-5CF0-5142-6482-F41D7B5C9B7E}"/>
          </ac:spMkLst>
        </pc:spChg>
        <pc:spChg chg="add del">
          <ac:chgData name="Cyrille Scuri" userId="0ff3ad52-7312-41f1-b45c-1187e0d5d8d9" providerId="ADAL" clId="{C2009521-DA9B-4BC1-84E0-1D06906F21A7}" dt="2022-05-11T15:34:16.720" v="276" actId="22"/>
          <ac:spMkLst>
            <pc:docMk/>
            <pc:sldMk cId="3639388620" sldId="2147469262"/>
            <ac:spMk id="99" creationId="{2FDAC863-236E-25A2-8163-C9B96ACC6DB1}"/>
          </ac:spMkLst>
        </pc:spChg>
        <pc:grpChg chg="del">
          <ac:chgData name="Cyrille Scuri" userId="0ff3ad52-7312-41f1-b45c-1187e0d5d8d9" providerId="ADAL" clId="{C2009521-DA9B-4BC1-84E0-1D06906F21A7}" dt="2022-05-11T15:32:06.136" v="266" actId="478"/>
          <ac:grpSpMkLst>
            <pc:docMk/>
            <pc:sldMk cId="3639388620" sldId="2147469262"/>
            <ac:grpSpMk id="10" creationId="{B4EFE0C3-0DF8-4256-0E16-EA93CD87DBD4}"/>
          </ac:grpSpMkLst>
        </pc:grpChg>
        <pc:grpChg chg="del">
          <ac:chgData name="Cyrille Scuri" userId="0ff3ad52-7312-41f1-b45c-1187e0d5d8d9" providerId="ADAL" clId="{C2009521-DA9B-4BC1-84E0-1D06906F21A7}" dt="2022-05-11T15:32:06.136" v="266" actId="478"/>
          <ac:grpSpMkLst>
            <pc:docMk/>
            <pc:sldMk cId="3639388620" sldId="2147469262"/>
            <ac:grpSpMk id="27" creationId="{D68C42F7-A240-E0A7-ED1B-C3CD083B8601}"/>
          </ac:grpSpMkLst>
        </pc:grpChg>
        <pc:grpChg chg="add del mod">
          <ac:chgData name="Cyrille Scuri" userId="0ff3ad52-7312-41f1-b45c-1187e0d5d8d9" providerId="ADAL" clId="{C2009521-DA9B-4BC1-84E0-1D06906F21A7}" dt="2022-05-11T15:32:38.586" v="271"/>
          <ac:grpSpMkLst>
            <pc:docMk/>
            <pc:sldMk cId="3639388620" sldId="2147469262"/>
            <ac:grpSpMk id="64" creationId="{D941FBD8-6C14-CDA1-02F7-4E2F3A52BD05}"/>
          </ac:grpSpMkLst>
        </pc:grpChg>
        <pc:grpChg chg="add del mod">
          <ac:chgData name="Cyrille Scuri" userId="0ff3ad52-7312-41f1-b45c-1187e0d5d8d9" providerId="ADAL" clId="{C2009521-DA9B-4BC1-84E0-1D06906F21A7}" dt="2022-05-11T15:32:38.586" v="271"/>
          <ac:grpSpMkLst>
            <pc:docMk/>
            <pc:sldMk cId="3639388620" sldId="2147469262"/>
            <ac:grpSpMk id="71" creationId="{8DCE8464-433F-551E-DBC6-4141AC583B25}"/>
          </ac:grpSpMkLst>
        </pc:grpChg>
        <pc:grpChg chg="add del mod">
          <ac:chgData name="Cyrille Scuri" userId="0ff3ad52-7312-41f1-b45c-1187e0d5d8d9" providerId="ADAL" clId="{C2009521-DA9B-4BC1-84E0-1D06906F21A7}" dt="2022-05-11T15:32:38.586" v="271"/>
          <ac:grpSpMkLst>
            <pc:docMk/>
            <pc:sldMk cId="3639388620" sldId="2147469262"/>
            <ac:grpSpMk id="74" creationId="{AA83134A-6F52-B8F9-0294-53042908AACA}"/>
          </ac:grpSpMkLst>
        </pc:grpChg>
        <pc:grpChg chg="add del mod">
          <ac:chgData name="Cyrille Scuri" userId="0ff3ad52-7312-41f1-b45c-1187e0d5d8d9" providerId="ADAL" clId="{C2009521-DA9B-4BC1-84E0-1D06906F21A7}" dt="2022-05-11T15:32:38.586" v="271"/>
          <ac:grpSpMkLst>
            <pc:docMk/>
            <pc:sldMk cId="3639388620" sldId="2147469262"/>
            <ac:grpSpMk id="77" creationId="{42EEDE35-7FAD-1269-DB7B-F7AB280CA220}"/>
          </ac:grpSpMkLst>
        </pc:grpChg>
        <pc:grpChg chg="add mod">
          <ac:chgData name="Cyrille Scuri" userId="0ff3ad52-7312-41f1-b45c-1187e0d5d8d9" providerId="ADAL" clId="{C2009521-DA9B-4BC1-84E0-1D06906F21A7}" dt="2022-05-11T15:32:41.290" v="272"/>
          <ac:grpSpMkLst>
            <pc:docMk/>
            <pc:sldMk cId="3639388620" sldId="2147469262"/>
            <ac:grpSpMk id="84" creationId="{7B052091-DC8E-1CAC-9403-61FDE0C86EF9}"/>
          </ac:grpSpMkLst>
        </pc:grpChg>
        <pc:grpChg chg="add mod">
          <ac:chgData name="Cyrille Scuri" userId="0ff3ad52-7312-41f1-b45c-1187e0d5d8d9" providerId="ADAL" clId="{C2009521-DA9B-4BC1-84E0-1D06906F21A7}" dt="2022-05-11T15:32:41.290" v="272"/>
          <ac:grpSpMkLst>
            <pc:docMk/>
            <pc:sldMk cId="3639388620" sldId="2147469262"/>
            <ac:grpSpMk id="87" creationId="{6B424B30-4684-2913-ED3B-1E9BB7E3DC6B}"/>
          </ac:grpSpMkLst>
        </pc:grpChg>
        <pc:grpChg chg="add mod">
          <ac:chgData name="Cyrille Scuri" userId="0ff3ad52-7312-41f1-b45c-1187e0d5d8d9" providerId="ADAL" clId="{C2009521-DA9B-4BC1-84E0-1D06906F21A7}" dt="2022-05-11T15:32:41.290" v="272"/>
          <ac:grpSpMkLst>
            <pc:docMk/>
            <pc:sldMk cId="3639388620" sldId="2147469262"/>
            <ac:grpSpMk id="90" creationId="{BDF0A5CD-2FEA-1EBE-D981-BA9E3CBCBF7E}"/>
          </ac:grpSpMkLst>
        </pc:grpChg>
        <pc:grpChg chg="add mod">
          <ac:chgData name="Cyrille Scuri" userId="0ff3ad52-7312-41f1-b45c-1187e0d5d8d9" providerId="ADAL" clId="{C2009521-DA9B-4BC1-84E0-1D06906F21A7}" dt="2022-05-11T15:32:41.290" v="272"/>
          <ac:grpSpMkLst>
            <pc:docMk/>
            <pc:sldMk cId="3639388620" sldId="2147469262"/>
            <ac:grpSpMk id="93" creationId="{365AD4A4-029B-7DAC-D964-A6FCE214AD46}"/>
          </ac:grpSpMkLst>
        </pc:grp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18" creationId="{2EDEAD0F-4481-82FE-08A3-9FDAD633D086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20" creationId="{079F1F8F-22FB-291F-F6F6-185FCF9BCB49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22" creationId="{F536E572-A9E7-9503-313F-AF57D12F2DD6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49" creationId="{A5A5BBC6-54D7-E3B1-FFE6-5E6AE7FED44A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0" creationId="{9089EA12-50E7-472F-06F4-ACB717351A4A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1" creationId="{41490B02-D6A0-B4A7-2C26-E691DC62B6E5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4" creationId="{EEFB1B0E-EE87-4539-AE41-EF095E19730A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5" creationId="{64F7ED7D-897A-3D71-EDCE-343BD3274908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6" creationId="{E9F25A16-8260-0D2D-6565-9B3E36A23690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7" creationId="{8A43B573-A590-6447-7B80-5C94C4107B30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8" creationId="{3DCC5BB0-1863-2AD2-7AD4-BA5319C122AA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59" creationId="{B7B6369A-B8F3-F817-7040-A23A7C2437F9}"/>
          </ac:picMkLst>
        </pc:picChg>
        <pc:picChg chg="del">
          <ac:chgData name="Cyrille Scuri" userId="0ff3ad52-7312-41f1-b45c-1187e0d5d8d9" providerId="ADAL" clId="{C2009521-DA9B-4BC1-84E0-1D06906F21A7}" dt="2022-05-11T15:32:13.186" v="269" actId="478"/>
          <ac:picMkLst>
            <pc:docMk/>
            <pc:sldMk cId="3639388620" sldId="2147469262"/>
            <ac:picMk id="62" creationId="{3E517682-4710-A1F4-B689-AF9CE0943900}"/>
          </ac:picMkLst>
        </pc:picChg>
        <pc:picChg chg="del">
          <ac:chgData name="Cyrille Scuri" userId="0ff3ad52-7312-41f1-b45c-1187e0d5d8d9" providerId="ADAL" clId="{C2009521-DA9B-4BC1-84E0-1D06906F21A7}" dt="2022-05-11T15:32:06.136" v="266" actId="478"/>
          <ac:picMkLst>
            <pc:docMk/>
            <pc:sldMk cId="3639388620" sldId="2147469262"/>
            <ac:picMk id="68" creationId="{23667EC5-62FD-057A-862F-E3EFBAC25E95}"/>
          </ac:picMkLst>
        </pc:picChg>
        <pc:picChg chg="add mod">
          <ac:chgData name="Cyrille Scuri" userId="0ff3ad52-7312-41f1-b45c-1187e0d5d8d9" providerId="ADAL" clId="{C2009521-DA9B-4BC1-84E0-1D06906F21A7}" dt="2022-05-11T15:35:05.817" v="295" actId="1037"/>
          <ac:picMkLst>
            <pc:docMk/>
            <pc:sldMk cId="3639388620" sldId="2147469262"/>
            <ac:picMk id="173058" creationId="{D4F3F768-9054-D03B-0A8F-13C96AC2C825}"/>
          </ac:picMkLst>
        </pc:picChg>
        <pc:cxnChg chg="add del mod">
          <ac:chgData name="Cyrille Scuri" userId="0ff3ad52-7312-41f1-b45c-1187e0d5d8d9" providerId="ADAL" clId="{C2009521-DA9B-4BC1-84E0-1D06906F21A7}" dt="2022-05-11T15:32:38.586" v="271"/>
          <ac:cxnSpMkLst>
            <pc:docMk/>
            <pc:sldMk cId="3639388620" sldId="2147469262"/>
            <ac:cxnSpMk id="81" creationId="{F4AC12DB-126C-42D8-92AD-32F551ACFC97}"/>
          </ac:cxnSpMkLst>
        </pc:cxnChg>
        <pc:cxnChg chg="add mod">
          <ac:chgData name="Cyrille Scuri" userId="0ff3ad52-7312-41f1-b45c-1187e0d5d8d9" providerId="ADAL" clId="{C2009521-DA9B-4BC1-84E0-1D06906F21A7}" dt="2022-05-11T15:32:41.290" v="272"/>
          <ac:cxnSpMkLst>
            <pc:docMk/>
            <pc:sldMk cId="3639388620" sldId="2147469262"/>
            <ac:cxnSpMk id="97" creationId="{E2BAEE77-7B6C-3048-2709-D6BB4722E4FC}"/>
          </ac:cxnSpMkLst>
        </pc:cxnChg>
      </pc:sldChg>
    </pc:docChg>
  </pc:docChgLst>
  <pc:docChgLst>
    <pc:chgData name="Cyrille Scuri" userId="0ff3ad52-7312-41f1-b45c-1187e0d5d8d9" providerId="ADAL" clId="{0AF707A7-7C30-4A84-850C-793DC22ED62D}"/>
    <pc:docChg chg="undo custSel addSld delSld modSld sldOrd">
      <pc:chgData name="Cyrille Scuri" userId="0ff3ad52-7312-41f1-b45c-1187e0d5d8d9" providerId="ADAL" clId="{0AF707A7-7C30-4A84-850C-793DC22ED62D}" dt="2022-09-20T08:50:52.897" v="647" actId="14100"/>
      <pc:docMkLst>
        <pc:docMk/>
      </pc:docMkLst>
      <pc:sldChg chg="del">
        <pc:chgData name="Cyrille Scuri" userId="0ff3ad52-7312-41f1-b45c-1187e0d5d8d9" providerId="ADAL" clId="{0AF707A7-7C30-4A84-850C-793DC22ED62D}" dt="2022-09-19T13:42:22.477" v="130" actId="47"/>
        <pc:sldMkLst>
          <pc:docMk/>
          <pc:sldMk cId="1462500275" sldId="3864"/>
        </pc:sldMkLst>
      </pc:sldChg>
      <pc:sldChg chg="del">
        <pc:chgData name="Cyrille Scuri" userId="0ff3ad52-7312-41f1-b45c-1187e0d5d8d9" providerId="ADAL" clId="{0AF707A7-7C30-4A84-850C-793DC22ED62D}" dt="2022-09-19T13:23:42.433" v="45" actId="47"/>
        <pc:sldMkLst>
          <pc:docMk/>
          <pc:sldMk cId="158698144" sldId="2076138255"/>
        </pc:sldMkLst>
      </pc:sldChg>
      <pc:sldChg chg="modAnim">
        <pc:chgData name="Cyrille Scuri" userId="0ff3ad52-7312-41f1-b45c-1187e0d5d8d9" providerId="ADAL" clId="{0AF707A7-7C30-4A84-850C-793DC22ED62D}" dt="2022-09-20T07:27:19.703" v="568"/>
        <pc:sldMkLst>
          <pc:docMk/>
          <pc:sldMk cId="2077853568" sldId="2147469267"/>
        </pc:sldMkLst>
      </pc:sldChg>
      <pc:sldChg chg="modSp mod">
        <pc:chgData name="Cyrille Scuri" userId="0ff3ad52-7312-41f1-b45c-1187e0d5d8d9" providerId="ADAL" clId="{0AF707A7-7C30-4A84-850C-793DC22ED62D}" dt="2022-09-20T08:36:41.723" v="603" actId="20577"/>
        <pc:sldMkLst>
          <pc:docMk/>
          <pc:sldMk cId="855317441" sldId="2147469268"/>
        </pc:sldMkLst>
        <pc:spChg chg="mod">
          <ac:chgData name="Cyrille Scuri" userId="0ff3ad52-7312-41f1-b45c-1187e0d5d8d9" providerId="ADAL" clId="{0AF707A7-7C30-4A84-850C-793DC22ED62D}" dt="2022-09-20T08:36:41.723" v="603" actId="20577"/>
          <ac:spMkLst>
            <pc:docMk/>
            <pc:sldMk cId="855317441" sldId="2147469268"/>
            <ac:spMk id="41" creationId="{4F318C15-526A-E1CF-A2A3-DF266BB9A3BC}"/>
          </ac:spMkLst>
        </pc:spChg>
      </pc:sldChg>
      <pc:sldChg chg="delSp mod delAnim">
        <pc:chgData name="Cyrille Scuri" userId="0ff3ad52-7312-41f1-b45c-1187e0d5d8d9" providerId="ADAL" clId="{0AF707A7-7C30-4A84-850C-793DC22ED62D}" dt="2022-09-20T08:37:15.651" v="604" actId="478"/>
        <pc:sldMkLst>
          <pc:docMk/>
          <pc:sldMk cId="2467390400" sldId="2147469272"/>
        </pc:sldMkLst>
        <pc:spChg chg="del">
          <ac:chgData name="Cyrille Scuri" userId="0ff3ad52-7312-41f1-b45c-1187e0d5d8d9" providerId="ADAL" clId="{0AF707A7-7C30-4A84-850C-793DC22ED62D}" dt="2022-09-20T08:37:15.651" v="604" actId="478"/>
          <ac:spMkLst>
            <pc:docMk/>
            <pc:sldMk cId="2467390400" sldId="2147469272"/>
            <ac:spMk id="2" creationId="{BEB5568E-12F9-CED6-6388-8A6D8CEFB7B4}"/>
          </ac:spMkLst>
        </pc:spChg>
      </pc:sldChg>
      <pc:sldChg chg="addSp modSp del mod">
        <pc:chgData name="Cyrille Scuri" userId="0ff3ad52-7312-41f1-b45c-1187e0d5d8d9" providerId="ADAL" clId="{0AF707A7-7C30-4A84-850C-793DC22ED62D}" dt="2022-09-20T07:28:49.931" v="591" actId="47"/>
        <pc:sldMkLst>
          <pc:docMk/>
          <pc:sldMk cId="3796124884" sldId="2147469275"/>
        </pc:sldMkLst>
        <pc:picChg chg="add mod">
          <ac:chgData name="Cyrille Scuri" userId="0ff3ad52-7312-41f1-b45c-1187e0d5d8d9" providerId="ADAL" clId="{0AF707A7-7C30-4A84-850C-793DC22ED62D}" dt="2022-09-19T14:45:49.368" v="492" actId="1440"/>
          <ac:picMkLst>
            <pc:docMk/>
            <pc:sldMk cId="3796124884" sldId="2147469275"/>
            <ac:picMk id="2" creationId="{4C446107-4B07-7684-39CD-E331B827A9EB}"/>
          </ac:picMkLst>
        </pc:picChg>
        <pc:picChg chg="mod">
          <ac:chgData name="Cyrille Scuri" userId="0ff3ad52-7312-41f1-b45c-1187e0d5d8d9" providerId="ADAL" clId="{0AF707A7-7C30-4A84-850C-793DC22ED62D}" dt="2022-09-19T14:45:47.527" v="491" actId="1440"/>
          <ac:picMkLst>
            <pc:docMk/>
            <pc:sldMk cId="3796124884" sldId="2147469275"/>
            <ac:picMk id="17" creationId="{7A7ACDAC-332E-8651-5978-4A760DF189C9}"/>
          </ac:picMkLst>
        </pc:picChg>
      </pc:sldChg>
      <pc:sldChg chg="del">
        <pc:chgData name="Cyrille Scuri" userId="0ff3ad52-7312-41f1-b45c-1187e0d5d8d9" providerId="ADAL" clId="{0AF707A7-7C30-4A84-850C-793DC22ED62D}" dt="2022-09-20T07:28:52.418" v="596" actId="47"/>
        <pc:sldMkLst>
          <pc:docMk/>
          <pc:sldMk cId="3992358081" sldId="2147469276"/>
        </pc:sldMkLst>
      </pc:sldChg>
      <pc:sldChg chg="addSp modSp mod">
        <pc:chgData name="Cyrille Scuri" userId="0ff3ad52-7312-41f1-b45c-1187e0d5d8d9" providerId="ADAL" clId="{0AF707A7-7C30-4A84-850C-793DC22ED62D}" dt="2022-09-19T14:44:57.058" v="480" actId="1440"/>
        <pc:sldMkLst>
          <pc:docMk/>
          <pc:sldMk cId="1097224860" sldId="2147469279"/>
        </pc:sldMkLst>
        <pc:picChg chg="add mod">
          <ac:chgData name="Cyrille Scuri" userId="0ff3ad52-7312-41f1-b45c-1187e0d5d8d9" providerId="ADAL" clId="{0AF707A7-7C30-4A84-850C-793DC22ED62D}" dt="2022-09-19T14:44:57.058" v="480" actId="1440"/>
          <ac:picMkLst>
            <pc:docMk/>
            <pc:sldMk cId="1097224860" sldId="2147469279"/>
            <ac:picMk id="2" creationId="{4A356ECC-7C6D-4E67-D8FC-49D8C54D7155}"/>
          </ac:picMkLst>
        </pc:picChg>
        <pc:picChg chg="mod">
          <ac:chgData name="Cyrille Scuri" userId="0ff3ad52-7312-41f1-b45c-1187e0d5d8d9" providerId="ADAL" clId="{0AF707A7-7C30-4A84-850C-793DC22ED62D}" dt="2022-09-19T14:44:54.897" v="479" actId="1440"/>
          <ac:picMkLst>
            <pc:docMk/>
            <pc:sldMk cId="1097224860" sldId="2147469279"/>
            <ac:picMk id="4" creationId="{4EC77047-E653-3A60-5D2B-90363FE34863}"/>
          </ac:picMkLst>
        </pc:picChg>
      </pc:sldChg>
      <pc:sldChg chg="del">
        <pc:chgData name="Cyrille Scuri" userId="0ff3ad52-7312-41f1-b45c-1187e0d5d8d9" providerId="ADAL" clId="{0AF707A7-7C30-4A84-850C-793DC22ED62D}" dt="2022-09-19T14:11:39.546" v="178" actId="47"/>
        <pc:sldMkLst>
          <pc:docMk/>
          <pc:sldMk cId="2852557993" sldId="2147469280"/>
        </pc:sldMkLst>
      </pc:sldChg>
      <pc:sldChg chg="del">
        <pc:chgData name="Cyrille Scuri" userId="0ff3ad52-7312-41f1-b45c-1187e0d5d8d9" providerId="ADAL" clId="{0AF707A7-7C30-4A84-850C-793DC22ED62D}" dt="2022-09-19T14:11:26.770" v="177" actId="47"/>
        <pc:sldMkLst>
          <pc:docMk/>
          <pc:sldMk cId="340496946" sldId="2147469281"/>
        </pc:sldMkLst>
      </pc:sldChg>
      <pc:sldChg chg="del">
        <pc:chgData name="Cyrille Scuri" userId="0ff3ad52-7312-41f1-b45c-1187e0d5d8d9" providerId="ADAL" clId="{0AF707A7-7C30-4A84-850C-793DC22ED62D}" dt="2022-09-19T14:06:21.564" v="156" actId="47"/>
        <pc:sldMkLst>
          <pc:docMk/>
          <pc:sldMk cId="319680470" sldId="2147469285"/>
        </pc:sldMkLst>
      </pc:sldChg>
      <pc:sldChg chg="del">
        <pc:chgData name="Cyrille Scuri" userId="0ff3ad52-7312-41f1-b45c-1187e0d5d8d9" providerId="ADAL" clId="{0AF707A7-7C30-4A84-850C-793DC22ED62D}" dt="2022-09-19T14:06:23.473" v="157" actId="47"/>
        <pc:sldMkLst>
          <pc:docMk/>
          <pc:sldMk cId="2547995507" sldId="2147469286"/>
        </pc:sldMkLst>
      </pc:sldChg>
      <pc:sldChg chg="del">
        <pc:chgData name="Cyrille Scuri" userId="0ff3ad52-7312-41f1-b45c-1187e0d5d8d9" providerId="ADAL" clId="{0AF707A7-7C30-4A84-850C-793DC22ED62D}" dt="2022-09-19T14:06:26.741" v="158" actId="47"/>
        <pc:sldMkLst>
          <pc:docMk/>
          <pc:sldMk cId="2023589907" sldId="2147469287"/>
        </pc:sldMkLst>
      </pc:sldChg>
      <pc:sldChg chg="del">
        <pc:chgData name="Cyrille Scuri" userId="0ff3ad52-7312-41f1-b45c-1187e0d5d8d9" providerId="ADAL" clId="{0AF707A7-7C30-4A84-850C-793DC22ED62D}" dt="2022-09-19T14:06:57.889" v="164" actId="47"/>
        <pc:sldMkLst>
          <pc:docMk/>
          <pc:sldMk cId="2227258549" sldId="2147469288"/>
        </pc:sldMkLst>
      </pc:sldChg>
      <pc:sldChg chg="del">
        <pc:chgData name="Cyrille Scuri" userId="0ff3ad52-7312-41f1-b45c-1187e0d5d8d9" providerId="ADAL" clId="{0AF707A7-7C30-4A84-850C-793DC22ED62D}" dt="2022-09-19T14:06:58.367" v="165" actId="47"/>
        <pc:sldMkLst>
          <pc:docMk/>
          <pc:sldMk cId="2537529044" sldId="2147469289"/>
        </pc:sldMkLst>
      </pc:sldChg>
      <pc:sldChg chg="addSp modSp mod">
        <pc:chgData name="Cyrille Scuri" userId="0ff3ad52-7312-41f1-b45c-1187e0d5d8d9" providerId="ADAL" clId="{0AF707A7-7C30-4A84-850C-793DC22ED62D}" dt="2022-09-19T14:45:43.593" v="490" actId="1440"/>
        <pc:sldMkLst>
          <pc:docMk/>
          <pc:sldMk cId="770025496" sldId="2147469290"/>
        </pc:sldMkLst>
        <pc:picChg chg="add mod">
          <ac:chgData name="Cyrille Scuri" userId="0ff3ad52-7312-41f1-b45c-1187e0d5d8d9" providerId="ADAL" clId="{0AF707A7-7C30-4A84-850C-793DC22ED62D}" dt="2022-09-19T14:45:43.593" v="490" actId="1440"/>
          <ac:picMkLst>
            <pc:docMk/>
            <pc:sldMk cId="770025496" sldId="2147469290"/>
            <ac:picMk id="2" creationId="{68990EBF-188F-D97E-3A93-003FA5294EBA}"/>
          </ac:picMkLst>
        </pc:picChg>
        <pc:picChg chg="mod">
          <ac:chgData name="Cyrille Scuri" userId="0ff3ad52-7312-41f1-b45c-1187e0d5d8d9" providerId="ADAL" clId="{0AF707A7-7C30-4A84-850C-793DC22ED62D}" dt="2022-09-19T14:45:41.098" v="489" actId="1440"/>
          <ac:picMkLst>
            <pc:docMk/>
            <pc:sldMk cId="770025496" sldId="2147469290"/>
            <ac:picMk id="3" creationId="{C151335E-A284-93A8-BD77-E52580679FF5}"/>
          </ac:picMkLst>
        </pc:picChg>
      </pc:sldChg>
      <pc:sldChg chg="del">
        <pc:chgData name="Cyrille Scuri" userId="0ff3ad52-7312-41f1-b45c-1187e0d5d8d9" providerId="ADAL" clId="{0AF707A7-7C30-4A84-850C-793DC22ED62D}" dt="2022-09-19T14:07:16.118" v="170" actId="47"/>
        <pc:sldMkLst>
          <pc:docMk/>
          <pc:sldMk cId="3588943127" sldId="2147469291"/>
        </pc:sldMkLst>
      </pc:sldChg>
      <pc:sldChg chg="del">
        <pc:chgData name="Cyrille Scuri" userId="0ff3ad52-7312-41f1-b45c-1187e0d5d8d9" providerId="ADAL" clId="{0AF707A7-7C30-4A84-850C-793DC22ED62D}" dt="2022-09-19T13:12:53.780" v="8" actId="47"/>
        <pc:sldMkLst>
          <pc:docMk/>
          <pc:sldMk cId="3232918154" sldId="2147469305"/>
        </pc:sldMkLst>
      </pc:sldChg>
      <pc:sldChg chg="del">
        <pc:chgData name="Cyrille Scuri" userId="0ff3ad52-7312-41f1-b45c-1187e0d5d8d9" providerId="ADAL" clId="{0AF707A7-7C30-4A84-850C-793DC22ED62D}" dt="2022-09-19T14:13:28.274" v="186" actId="47"/>
        <pc:sldMkLst>
          <pc:docMk/>
          <pc:sldMk cId="3894584078" sldId="2147469308"/>
        </pc:sldMkLst>
      </pc:sldChg>
      <pc:sldChg chg="del">
        <pc:chgData name="Cyrille Scuri" userId="0ff3ad52-7312-41f1-b45c-1187e0d5d8d9" providerId="ADAL" clId="{0AF707A7-7C30-4A84-850C-793DC22ED62D}" dt="2022-09-19T14:13:41.955" v="190" actId="47"/>
        <pc:sldMkLst>
          <pc:docMk/>
          <pc:sldMk cId="1426989273" sldId="2147469309"/>
        </pc:sldMkLst>
      </pc:sldChg>
      <pc:sldChg chg="addSp modSp del mod">
        <pc:chgData name="Cyrille Scuri" userId="0ff3ad52-7312-41f1-b45c-1187e0d5d8d9" providerId="ADAL" clId="{0AF707A7-7C30-4A84-850C-793DC22ED62D}" dt="2022-09-20T07:28:50.867" v="593" actId="47"/>
        <pc:sldMkLst>
          <pc:docMk/>
          <pc:sldMk cId="3132814849" sldId="2147469312"/>
        </pc:sldMkLst>
        <pc:picChg chg="add mod">
          <ac:chgData name="Cyrille Scuri" userId="0ff3ad52-7312-41f1-b45c-1187e0d5d8d9" providerId="ADAL" clId="{0AF707A7-7C30-4A84-850C-793DC22ED62D}" dt="2022-09-19T14:45:59.492" v="496" actId="1440"/>
          <ac:picMkLst>
            <pc:docMk/>
            <pc:sldMk cId="3132814849" sldId="2147469312"/>
            <ac:picMk id="2" creationId="{1D03A395-DA0F-A67A-508A-D95AEC885430}"/>
          </ac:picMkLst>
        </pc:picChg>
        <pc:picChg chg="mod">
          <ac:chgData name="Cyrille Scuri" userId="0ff3ad52-7312-41f1-b45c-1187e0d5d8d9" providerId="ADAL" clId="{0AF707A7-7C30-4A84-850C-793DC22ED62D}" dt="2022-09-19T14:45:57.788" v="495" actId="1440"/>
          <ac:picMkLst>
            <pc:docMk/>
            <pc:sldMk cId="3132814849" sldId="2147469312"/>
            <ac:picMk id="5" creationId="{758567B8-4C43-99B2-E53E-66B1EBA51EFD}"/>
          </ac:picMkLst>
        </pc:picChg>
      </pc:sldChg>
      <pc:sldChg chg="del">
        <pc:chgData name="Cyrille Scuri" userId="0ff3ad52-7312-41f1-b45c-1187e0d5d8d9" providerId="ADAL" clId="{0AF707A7-7C30-4A84-850C-793DC22ED62D}" dt="2022-09-19T14:14:30.118" v="200" actId="47"/>
        <pc:sldMkLst>
          <pc:docMk/>
          <pc:sldMk cId="1303300493" sldId="2147469315"/>
        </pc:sldMkLst>
      </pc:sldChg>
      <pc:sldChg chg="del">
        <pc:chgData name="Cyrille Scuri" userId="0ff3ad52-7312-41f1-b45c-1187e0d5d8d9" providerId="ADAL" clId="{0AF707A7-7C30-4A84-850C-793DC22ED62D}" dt="2022-09-20T07:28:51.483" v="595" actId="47"/>
        <pc:sldMkLst>
          <pc:docMk/>
          <pc:sldMk cId="2413407607" sldId="2147469316"/>
        </pc:sldMkLst>
      </pc:sldChg>
      <pc:sldChg chg="del">
        <pc:chgData name="Cyrille Scuri" userId="0ff3ad52-7312-41f1-b45c-1187e0d5d8d9" providerId="ADAL" clId="{0AF707A7-7C30-4A84-850C-793DC22ED62D}" dt="2022-09-19T14:14:14.054" v="195" actId="47"/>
        <pc:sldMkLst>
          <pc:docMk/>
          <pc:sldMk cId="2575143022" sldId="2147469318"/>
        </pc:sldMkLst>
      </pc:sldChg>
      <pc:sldChg chg="addSp modSp mod">
        <pc:chgData name="Cyrille Scuri" userId="0ff3ad52-7312-41f1-b45c-1187e0d5d8d9" providerId="ADAL" clId="{0AF707A7-7C30-4A84-850C-793DC22ED62D}" dt="2022-09-19T14:45:03.611" v="482" actId="1440"/>
        <pc:sldMkLst>
          <pc:docMk/>
          <pc:sldMk cId="1209245120" sldId="2147469319"/>
        </pc:sldMkLst>
        <pc:picChg chg="add mod">
          <ac:chgData name="Cyrille Scuri" userId="0ff3ad52-7312-41f1-b45c-1187e0d5d8d9" providerId="ADAL" clId="{0AF707A7-7C30-4A84-850C-793DC22ED62D}" dt="2022-09-19T14:45:03.611" v="482" actId="1440"/>
          <ac:picMkLst>
            <pc:docMk/>
            <pc:sldMk cId="1209245120" sldId="2147469319"/>
            <ac:picMk id="2" creationId="{62E6301B-24E4-9AB6-7C65-EC79DA4C9B83}"/>
          </ac:picMkLst>
        </pc:picChg>
        <pc:picChg chg="mod">
          <ac:chgData name="Cyrille Scuri" userId="0ff3ad52-7312-41f1-b45c-1187e0d5d8d9" providerId="ADAL" clId="{0AF707A7-7C30-4A84-850C-793DC22ED62D}" dt="2022-09-19T14:45:01.347" v="481" actId="1440"/>
          <ac:picMkLst>
            <pc:docMk/>
            <pc:sldMk cId="1209245120" sldId="2147469319"/>
            <ac:picMk id="5" creationId="{3A1BF9D3-A147-341D-3BC3-5BD96479B784}"/>
          </ac:picMkLst>
        </pc:picChg>
      </pc:sldChg>
      <pc:sldChg chg="del">
        <pc:chgData name="Cyrille Scuri" userId="0ff3ad52-7312-41f1-b45c-1187e0d5d8d9" providerId="ADAL" clId="{0AF707A7-7C30-4A84-850C-793DC22ED62D}" dt="2022-09-19T14:12:10.456" v="182" actId="47"/>
        <pc:sldMkLst>
          <pc:docMk/>
          <pc:sldMk cId="695119478" sldId="2147469320"/>
        </pc:sldMkLst>
      </pc:sldChg>
      <pc:sldChg chg="del">
        <pc:chgData name="Cyrille Scuri" userId="0ff3ad52-7312-41f1-b45c-1187e0d5d8d9" providerId="ADAL" clId="{0AF707A7-7C30-4A84-850C-793DC22ED62D}" dt="2022-09-19T13:13:09.685" v="10" actId="47"/>
        <pc:sldMkLst>
          <pc:docMk/>
          <pc:sldMk cId="2753192462" sldId="2147469321"/>
        </pc:sldMkLst>
      </pc:sldChg>
      <pc:sldChg chg="del">
        <pc:chgData name="Cyrille Scuri" userId="0ff3ad52-7312-41f1-b45c-1187e0d5d8d9" providerId="ADAL" clId="{0AF707A7-7C30-4A84-850C-793DC22ED62D}" dt="2022-09-19T13:14:13.024" v="19" actId="47"/>
        <pc:sldMkLst>
          <pc:docMk/>
          <pc:sldMk cId="1170728446" sldId="2147469322"/>
        </pc:sldMkLst>
      </pc:sldChg>
      <pc:sldChg chg="addSp modSp mod">
        <pc:chgData name="Cyrille Scuri" userId="0ff3ad52-7312-41f1-b45c-1187e0d5d8d9" providerId="ADAL" clId="{0AF707A7-7C30-4A84-850C-793DC22ED62D}" dt="2022-09-19T14:47:31.150" v="536" actId="1076"/>
        <pc:sldMkLst>
          <pc:docMk/>
          <pc:sldMk cId="3603234062" sldId="2147469323"/>
        </pc:sldMkLst>
        <pc:picChg chg="add mod">
          <ac:chgData name="Cyrille Scuri" userId="0ff3ad52-7312-41f1-b45c-1187e0d5d8d9" providerId="ADAL" clId="{0AF707A7-7C30-4A84-850C-793DC22ED62D}" dt="2022-09-19T14:47:28.445" v="535" actId="1076"/>
          <ac:picMkLst>
            <pc:docMk/>
            <pc:sldMk cId="3603234062" sldId="2147469323"/>
            <ac:picMk id="2" creationId="{36836D11-879A-B833-E717-011D2B7CD138}"/>
          </ac:picMkLst>
        </pc:picChg>
        <pc:picChg chg="mod">
          <ac:chgData name="Cyrille Scuri" userId="0ff3ad52-7312-41f1-b45c-1187e0d5d8d9" providerId="ADAL" clId="{0AF707A7-7C30-4A84-850C-793DC22ED62D}" dt="2022-09-19T14:47:16.769" v="514" actId="14100"/>
          <ac:picMkLst>
            <pc:docMk/>
            <pc:sldMk cId="3603234062" sldId="2147469323"/>
            <ac:picMk id="3" creationId="{FE814334-0045-7BE1-38CF-BC042C1D1031}"/>
          </ac:picMkLst>
        </pc:picChg>
        <pc:picChg chg="add mod">
          <ac:chgData name="Cyrille Scuri" userId="0ff3ad52-7312-41f1-b45c-1187e0d5d8d9" providerId="ADAL" clId="{0AF707A7-7C30-4A84-850C-793DC22ED62D}" dt="2022-09-19T14:47:31.150" v="536" actId="1076"/>
          <ac:picMkLst>
            <pc:docMk/>
            <pc:sldMk cId="3603234062" sldId="2147469323"/>
            <ac:picMk id="4" creationId="{449C7325-338B-49D4-A73F-A171206C96DE}"/>
          </ac:picMkLst>
        </pc:picChg>
      </pc:sldChg>
      <pc:sldChg chg="del">
        <pc:chgData name="Cyrille Scuri" userId="0ff3ad52-7312-41f1-b45c-1187e0d5d8d9" providerId="ADAL" clId="{0AF707A7-7C30-4A84-850C-793DC22ED62D}" dt="2022-09-19T13:14:15.576" v="20" actId="47"/>
        <pc:sldMkLst>
          <pc:docMk/>
          <pc:sldMk cId="1128858556" sldId="2147469324"/>
        </pc:sldMkLst>
      </pc:sldChg>
      <pc:sldChg chg="addSp modSp del mod">
        <pc:chgData name="Cyrille Scuri" userId="0ff3ad52-7312-41f1-b45c-1187e0d5d8d9" providerId="ADAL" clId="{0AF707A7-7C30-4A84-850C-793DC22ED62D}" dt="2022-09-19T14:30:32.135" v="235" actId="47"/>
        <pc:sldMkLst>
          <pc:docMk/>
          <pc:sldMk cId="3363469563" sldId="2147469325"/>
        </pc:sldMkLst>
        <pc:picChg chg="add mod">
          <ac:chgData name="Cyrille Scuri" userId="0ff3ad52-7312-41f1-b45c-1187e0d5d8d9" providerId="ADAL" clId="{0AF707A7-7C30-4A84-850C-793DC22ED62D}" dt="2022-09-19T13:15:08.080" v="26" actId="1076"/>
          <ac:picMkLst>
            <pc:docMk/>
            <pc:sldMk cId="3363469563" sldId="2147469325"/>
            <ac:picMk id="2" creationId="{D07EF9E7-7D49-8614-3C1F-CF81A4B50611}"/>
          </ac:picMkLst>
        </pc:picChg>
        <pc:picChg chg="mod">
          <ac:chgData name="Cyrille Scuri" userId="0ff3ad52-7312-41f1-b45c-1187e0d5d8d9" providerId="ADAL" clId="{0AF707A7-7C30-4A84-850C-793DC22ED62D}" dt="2022-09-19T13:14:52.093" v="22" actId="14100"/>
          <ac:picMkLst>
            <pc:docMk/>
            <pc:sldMk cId="3363469563" sldId="2147469325"/>
            <ac:picMk id="3" creationId="{77242F8C-4607-8453-85B9-1423FB4F9770}"/>
          </ac:picMkLst>
        </pc:picChg>
      </pc:sldChg>
      <pc:sldChg chg="addSp modSp mod">
        <pc:chgData name="Cyrille Scuri" userId="0ff3ad52-7312-41f1-b45c-1187e0d5d8d9" providerId="ADAL" clId="{0AF707A7-7C30-4A84-850C-793DC22ED62D}" dt="2022-09-19T14:45:22.193" v="484" actId="1440"/>
        <pc:sldMkLst>
          <pc:docMk/>
          <pc:sldMk cId="3391201320" sldId="2147469326"/>
        </pc:sldMkLst>
        <pc:picChg chg="add mod">
          <ac:chgData name="Cyrille Scuri" userId="0ff3ad52-7312-41f1-b45c-1187e0d5d8d9" providerId="ADAL" clId="{0AF707A7-7C30-4A84-850C-793DC22ED62D}" dt="2022-09-19T14:45:22.193" v="484" actId="1440"/>
          <ac:picMkLst>
            <pc:docMk/>
            <pc:sldMk cId="3391201320" sldId="2147469326"/>
            <ac:picMk id="2" creationId="{6A5A2CF2-D7A2-30DB-0F90-EDC0DF4022DC}"/>
          </ac:picMkLst>
        </pc:picChg>
        <pc:picChg chg="mod">
          <ac:chgData name="Cyrille Scuri" userId="0ff3ad52-7312-41f1-b45c-1187e0d5d8d9" providerId="ADAL" clId="{0AF707A7-7C30-4A84-850C-793DC22ED62D}" dt="2022-09-19T14:45:22.193" v="484" actId="1440"/>
          <ac:picMkLst>
            <pc:docMk/>
            <pc:sldMk cId="3391201320" sldId="2147469326"/>
            <ac:picMk id="3" creationId="{ECD597C1-D9C3-4DCF-A01A-C46E4EFE6F77}"/>
          </ac:picMkLst>
        </pc:picChg>
      </pc:sldChg>
      <pc:sldChg chg="del">
        <pc:chgData name="Cyrille Scuri" userId="0ff3ad52-7312-41f1-b45c-1187e0d5d8d9" providerId="ADAL" clId="{0AF707A7-7C30-4A84-850C-793DC22ED62D}" dt="2022-09-19T14:06:08.434" v="155" actId="47"/>
        <pc:sldMkLst>
          <pc:docMk/>
          <pc:sldMk cId="4255593327" sldId="2147469327"/>
        </pc:sldMkLst>
      </pc:sldChg>
      <pc:sldChg chg="del">
        <pc:chgData name="Cyrille Scuri" userId="0ff3ad52-7312-41f1-b45c-1187e0d5d8d9" providerId="ADAL" clId="{0AF707A7-7C30-4A84-850C-793DC22ED62D}" dt="2022-09-19T14:10:49.537" v="171" actId="47"/>
        <pc:sldMkLst>
          <pc:docMk/>
          <pc:sldMk cId="3563085237" sldId="2147469328"/>
        </pc:sldMkLst>
      </pc:sldChg>
      <pc:sldChg chg="del">
        <pc:chgData name="Cyrille Scuri" userId="0ff3ad52-7312-41f1-b45c-1187e0d5d8d9" providerId="ADAL" clId="{0AF707A7-7C30-4A84-850C-793DC22ED62D}" dt="2022-09-20T08:39:32.012" v="605" actId="47"/>
        <pc:sldMkLst>
          <pc:docMk/>
          <pc:sldMk cId="370159487" sldId="2147469329"/>
        </pc:sldMkLst>
      </pc:sldChg>
      <pc:sldChg chg="addSp modSp mod">
        <pc:chgData name="Cyrille Scuri" userId="0ff3ad52-7312-41f1-b45c-1187e0d5d8d9" providerId="ADAL" clId="{0AF707A7-7C30-4A84-850C-793DC22ED62D}" dt="2022-09-20T08:50:52.897" v="647" actId="14100"/>
        <pc:sldMkLst>
          <pc:docMk/>
          <pc:sldMk cId="3255951905" sldId="2147469330"/>
        </pc:sldMkLst>
        <pc:picChg chg="add mod">
          <ac:chgData name="Cyrille Scuri" userId="0ff3ad52-7312-41f1-b45c-1187e0d5d8d9" providerId="ADAL" clId="{0AF707A7-7C30-4A84-850C-793DC22ED62D}" dt="2022-09-20T08:50:52.897" v="647" actId="14100"/>
          <ac:picMkLst>
            <pc:docMk/>
            <pc:sldMk cId="3255951905" sldId="2147469330"/>
            <ac:picMk id="2" creationId="{452FD6EA-4173-70EC-7D67-FAB9A734C65F}"/>
          </ac:picMkLst>
        </pc:picChg>
        <pc:picChg chg="mod">
          <ac:chgData name="Cyrille Scuri" userId="0ff3ad52-7312-41f1-b45c-1187e0d5d8d9" providerId="ADAL" clId="{0AF707A7-7C30-4A84-850C-793DC22ED62D}" dt="2022-09-19T14:45:28.540" v="485" actId="1440"/>
          <ac:picMkLst>
            <pc:docMk/>
            <pc:sldMk cId="3255951905" sldId="2147469330"/>
            <ac:picMk id="4" creationId="{DD9BD3B2-A39C-DE6C-89AC-9449E3AC254A}"/>
          </ac:picMkLst>
        </pc:picChg>
      </pc:sldChg>
      <pc:sldChg chg="addSp modSp del mod">
        <pc:chgData name="Cyrille Scuri" userId="0ff3ad52-7312-41f1-b45c-1187e0d5d8d9" providerId="ADAL" clId="{0AF707A7-7C30-4A84-850C-793DC22ED62D}" dt="2022-09-20T07:28:50.433" v="592" actId="47"/>
        <pc:sldMkLst>
          <pc:docMk/>
          <pc:sldMk cId="2206361257" sldId="2147469331"/>
        </pc:sldMkLst>
        <pc:picChg chg="add mod">
          <ac:chgData name="Cyrille Scuri" userId="0ff3ad52-7312-41f1-b45c-1187e0d5d8d9" providerId="ADAL" clId="{0AF707A7-7C30-4A84-850C-793DC22ED62D}" dt="2022-09-19T14:45:55.154" v="494" actId="1440"/>
          <ac:picMkLst>
            <pc:docMk/>
            <pc:sldMk cId="2206361257" sldId="2147469331"/>
            <ac:picMk id="2" creationId="{D6698FD7-FE14-6BF8-F776-455043E4216D}"/>
          </ac:picMkLst>
        </pc:picChg>
        <pc:picChg chg="mod">
          <ac:chgData name="Cyrille Scuri" userId="0ff3ad52-7312-41f1-b45c-1187e0d5d8d9" providerId="ADAL" clId="{0AF707A7-7C30-4A84-850C-793DC22ED62D}" dt="2022-09-19T14:45:53.335" v="493" actId="1440"/>
          <ac:picMkLst>
            <pc:docMk/>
            <pc:sldMk cId="2206361257" sldId="2147469331"/>
            <ac:picMk id="3" creationId="{F747EEE6-28E1-CAC7-8F10-49B09FCE0CA4}"/>
          </ac:picMkLst>
        </pc:picChg>
      </pc:sldChg>
      <pc:sldChg chg="addSp modSp del mod">
        <pc:chgData name="Cyrille Scuri" userId="0ff3ad52-7312-41f1-b45c-1187e0d5d8d9" providerId="ADAL" clId="{0AF707A7-7C30-4A84-850C-793DC22ED62D}" dt="2022-09-20T07:28:51.132" v="594" actId="47"/>
        <pc:sldMkLst>
          <pc:docMk/>
          <pc:sldMk cId="273030536" sldId="2147469333"/>
        </pc:sldMkLst>
        <pc:picChg chg="add mod">
          <ac:chgData name="Cyrille Scuri" userId="0ff3ad52-7312-41f1-b45c-1187e0d5d8d9" providerId="ADAL" clId="{0AF707A7-7C30-4A84-850C-793DC22ED62D}" dt="2022-09-19T14:46:04.769" v="498" actId="1440"/>
          <ac:picMkLst>
            <pc:docMk/>
            <pc:sldMk cId="273030536" sldId="2147469333"/>
            <ac:picMk id="2" creationId="{74D5160B-77BD-A879-3620-A1A8C566B244}"/>
          </ac:picMkLst>
        </pc:picChg>
        <pc:picChg chg="mod">
          <ac:chgData name="Cyrille Scuri" userId="0ff3ad52-7312-41f1-b45c-1187e0d5d8d9" providerId="ADAL" clId="{0AF707A7-7C30-4A84-850C-793DC22ED62D}" dt="2022-09-19T14:46:02.805" v="497" actId="1440"/>
          <ac:picMkLst>
            <pc:docMk/>
            <pc:sldMk cId="273030536" sldId="2147469333"/>
            <ac:picMk id="5" creationId="{F3B69A51-D582-FC77-CDD8-0697406C2A3F}"/>
          </ac:picMkLst>
        </pc:picChg>
      </pc:sldChg>
      <pc:sldChg chg="del">
        <pc:chgData name="Cyrille Scuri" userId="0ff3ad52-7312-41f1-b45c-1187e0d5d8d9" providerId="ADAL" clId="{0AF707A7-7C30-4A84-850C-793DC22ED62D}" dt="2022-09-19T13:12:53.020" v="7" actId="47"/>
        <pc:sldMkLst>
          <pc:docMk/>
          <pc:sldMk cId="2463825269" sldId="2147469334"/>
        </pc:sldMkLst>
      </pc:sldChg>
      <pc:sldChg chg="addSp modSp mod">
        <pc:chgData name="Cyrille Scuri" userId="0ff3ad52-7312-41f1-b45c-1187e0d5d8d9" providerId="ADAL" clId="{0AF707A7-7C30-4A84-850C-793DC22ED62D}" dt="2022-09-19T14:45:38.229" v="488" actId="1440"/>
        <pc:sldMkLst>
          <pc:docMk/>
          <pc:sldMk cId="2266331144" sldId="2147469336"/>
        </pc:sldMkLst>
        <pc:picChg chg="add mod">
          <ac:chgData name="Cyrille Scuri" userId="0ff3ad52-7312-41f1-b45c-1187e0d5d8d9" providerId="ADAL" clId="{0AF707A7-7C30-4A84-850C-793DC22ED62D}" dt="2022-09-19T14:45:38.229" v="488" actId="1440"/>
          <ac:picMkLst>
            <pc:docMk/>
            <pc:sldMk cId="2266331144" sldId="2147469336"/>
            <ac:picMk id="2" creationId="{71D9F6C2-4CE0-6120-D9C9-1532989FD433}"/>
          </ac:picMkLst>
        </pc:picChg>
        <pc:picChg chg="mod">
          <ac:chgData name="Cyrille Scuri" userId="0ff3ad52-7312-41f1-b45c-1187e0d5d8d9" providerId="ADAL" clId="{0AF707A7-7C30-4A84-850C-793DC22ED62D}" dt="2022-09-19T14:45:36.504" v="487" actId="1440"/>
          <ac:picMkLst>
            <pc:docMk/>
            <pc:sldMk cId="2266331144" sldId="2147469336"/>
            <ac:picMk id="3" creationId="{ADA707FB-7424-6D6B-DEDC-22E84CA7F66E}"/>
          </ac:picMkLst>
        </pc:picChg>
      </pc:sldChg>
      <pc:sldChg chg="del">
        <pc:chgData name="Cyrille Scuri" userId="0ff3ad52-7312-41f1-b45c-1187e0d5d8d9" providerId="ADAL" clId="{0AF707A7-7C30-4A84-850C-793DC22ED62D}" dt="2022-09-19T13:13:04.592" v="9" actId="47"/>
        <pc:sldMkLst>
          <pc:docMk/>
          <pc:sldMk cId="2582354107" sldId="2147469337"/>
        </pc:sldMkLst>
      </pc:sldChg>
      <pc:sldChg chg="addSp modSp add del mod">
        <pc:chgData name="Cyrille Scuri" userId="0ff3ad52-7312-41f1-b45c-1187e0d5d8d9" providerId="ADAL" clId="{0AF707A7-7C30-4A84-850C-793DC22ED62D}" dt="2022-09-19T14:48:11.935" v="566" actId="1076"/>
        <pc:sldMkLst>
          <pc:docMk/>
          <pc:sldMk cId="1476193251" sldId="2147469361"/>
        </pc:sldMkLst>
        <pc:picChg chg="add mod">
          <ac:chgData name="Cyrille Scuri" userId="0ff3ad52-7312-41f1-b45c-1187e0d5d8d9" providerId="ADAL" clId="{0AF707A7-7C30-4A84-850C-793DC22ED62D}" dt="2022-09-19T14:48:11.935" v="566" actId="1076"/>
          <ac:picMkLst>
            <pc:docMk/>
            <pc:sldMk cId="1476193251" sldId="2147469361"/>
            <ac:picMk id="2" creationId="{A1423D40-F914-4BE8-8CC9-B4C24C8E2038}"/>
          </ac:picMkLst>
        </pc:picChg>
        <pc:picChg chg="mod">
          <ac:chgData name="Cyrille Scuri" userId="0ff3ad52-7312-41f1-b45c-1187e0d5d8d9" providerId="ADAL" clId="{0AF707A7-7C30-4A84-850C-793DC22ED62D}" dt="2022-09-19T14:47:55.354" v="542" actId="14100"/>
          <ac:picMkLst>
            <pc:docMk/>
            <pc:sldMk cId="1476193251" sldId="2147469361"/>
            <ac:picMk id="3" creationId="{4BBEC855-6EC3-E1D5-FCE2-418D51EC57FD}"/>
          </ac:picMkLst>
        </pc:picChg>
        <pc:picChg chg="add mod">
          <ac:chgData name="Cyrille Scuri" userId="0ff3ad52-7312-41f1-b45c-1187e0d5d8d9" providerId="ADAL" clId="{0AF707A7-7C30-4A84-850C-793DC22ED62D}" dt="2022-09-19T14:48:04.101" v="559" actId="1076"/>
          <ac:picMkLst>
            <pc:docMk/>
            <pc:sldMk cId="1476193251" sldId="2147469361"/>
            <ac:picMk id="4" creationId="{66AB3BE9-6188-BD7C-AD69-110FF384BB0E}"/>
          </ac:picMkLst>
        </pc:picChg>
      </pc:sldChg>
      <pc:sldChg chg="del">
        <pc:chgData name="Cyrille Scuri" userId="0ff3ad52-7312-41f1-b45c-1187e0d5d8d9" providerId="ADAL" clId="{0AF707A7-7C30-4A84-850C-793DC22ED62D}" dt="2022-09-19T14:32:44.198" v="247" actId="47"/>
        <pc:sldMkLst>
          <pc:docMk/>
          <pc:sldMk cId="2921631058" sldId="2147469367"/>
        </pc:sldMkLst>
      </pc:sldChg>
      <pc:sldChg chg="addSp modSp del mod">
        <pc:chgData name="Cyrille Scuri" userId="0ff3ad52-7312-41f1-b45c-1187e0d5d8d9" providerId="ADAL" clId="{0AF707A7-7C30-4A84-850C-793DC22ED62D}" dt="2022-09-20T07:28:54.420" v="597" actId="47"/>
        <pc:sldMkLst>
          <pc:docMk/>
          <pc:sldMk cId="4123672034" sldId="2147469373"/>
        </pc:sldMkLst>
        <pc:picChg chg="add mod">
          <ac:chgData name="Cyrille Scuri" userId="0ff3ad52-7312-41f1-b45c-1187e0d5d8d9" providerId="ADAL" clId="{0AF707A7-7C30-4A84-850C-793DC22ED62D}" dt="2022-09-19T14:46:12.249" v="500" actId="1440"/>
          <ac:picMkLst>
            <pc:docMk/>
            <pc:sldMk cId="4123672034" sldId="2147469373"/>
            <ac:picMk id="2" creationId="{F94B9873-4699-53CB-4CA9-DF629067C0F9}"/>
          </ac:picMkLst>
        </pc:picChg>
        <pc:picChg chg="mod">
          <ac:chgData name="Cyrille Scuri" userId="0ff3ad52-7312-41f1-b45c-1187e0d5d8d9" providerId="ADAL" clId="{0AF707A7-7C30-4A84-850C-793DC22ED62D}" dt="2022-09-19T14:46:10.508" v="499" actId="1440"/>
          <ac:picMkLst>
            <pc:docMk/>
            <pc:sldMk cId="4123672034" sldId="2147469373"/>
            <ac:picMk id="5" creationId="{F3665B91-773B-D490-A00D-ABE0DE34E729}"/>
          </ac:picMkLst>
        </pc:picChg>
      </pc:sldChg>
      <pc:sldChg chg="del">
        <pc:chgData name="Cyrille Scuri" userId="0ff3ad52-7312-41f1-b45c-1187e0d5d8d9" providerId="ADAL" clId="{0AF707A7-7C30-4A84-850C-793DC22ED62D}" dt="2022-09-19T14:15:01.496" v="204" actId="47"/>
        <pc:sldMkLst>
          <pc:docMk/>
          <pc:sldMk cId="3731688269" sldId="2147469374"/>
        </pc:sldMkLst>
      </pc:sldChg>
      <pc:sldChg chg="addSp modSp mod">
        <pc:chgData name="Cyrille Scuri" userId="0ff3ad52-7312-41f1-b45c-1187e0d5d8d9" providerId="ADAL" clId="{0AF707A7-7C30-4A84-850C-793DC22ED62D}" dt="2022-09-19T14:46:18.748" v="502" actId="1440"/>
        <pc:sldMkLst>
          <pc:docMk/>
          <pc:sldMk cId="125860915" sldId="2147469377"/>
        </pc:sldMkLst>
        <pc:picChg chg="add mod">
          <ac:chgData name="Cyrille Scuri" userId="0ff3ad52-7312-41f1-b45c-1187e0d5d8d9" providerId="ADAL" clId="{0AF707A7-7C30-4A84-850C-793DC22ED62D}" dt="2022-09-19T14:46:18.748" v="502" actId="1440"/>
          <ac:picMkLst>
            <pc:docMk/>
            <pc:sldMk cId="125860915" sldId="2147469377"/>
            <ac:picMk id="2" creationId="{771B911F-BEB3-9508-6004-EAEEECADE236}"/>
          </ac:picMkLst>
        </pc:picChg>
        <pc:picChg chg="mod">
          <ac:chgData name="Cyrille Scuri" userId="0ff3ad52-7312-41f1-b45c-1187e0d5d8d9" providerId="ADAL" clId="{0AF707A7-7C30-4A84-850C-793DC22ED62D}" dt="2022-09-19T14:46:17.035" v="501" actId="1440"/>
          <ac:picMkLst>
            <pc:docMk/>
            <pc:sldMk cId="125860915" sldId="2147469377"/>
            <ac:picMk id="3" creationId="{69D73691-3AA2-EF52-651A-899EADD731C7}"/>
          </ac:picMkLst>
        </pc:picChg>
      </pc:sldChg>
      <pc:sldChg chg="del">
        <pc:chgData name="Cyrille Scuri" userId="0ff3ad52-7312-41f1-b45c-1187e0d5d8d9" providerId="ADAL" clId="{0AF707A7-7C30-4A84-850C-793DC22ED62D}" dt="2022-09-19T14:27:12.894" v="209" actId="47"/>
        <pc:sldMkLst>
          <pc:docMk/>
          <pc:sldMk cId="3953557396" sldId="2147469379"/>
        </pc:sldMkLst>
      </pc:sldChg>
      <pc:sldChg chg="addSp modSp mod">
        <pc:chgData name="Cyrille Scuri" userId="0ff3ad52-7312-41f1-b45c-1187e0d5d8d9" providerId="ADAL" clId="{0AF707A7-7C30-4A84-850C-793DC22ED62D}" dt="2022-09-19T14:46:24.363" v="504" actId="1440"/>
        <pc:sldMkLst>
          <pc:docMk/>
          <pc:sldMk cId="3309534112" sldId="2147469382"/>
        </pc:sldMkLst>
        <pc:picChg chg="add mod">
          <ac:chgData name="Cyrille Scuri" userId="0ff3ad52-7312-41f1-b45c-1187e0d5d8d9" providerId="ADAL" clId="{0AF707A7-7C30-4A84-850C-793DC22ED62D}" dt="2022-09-19T14:46:24.363" v="504" actId="1440"/>
          <ac:picMkLst>
            <pc:docMk/>
            <pc:sldMk cId="3309534112" sldId="2147469382"/>
            <ac:picMk id="2" creationId="{B8CD288B-0842-0AC5-9970-2D945CD26531}"/>
          </ac:picMkLst>
        </pc:picChg>
        <pc:picChg chg="mod">
          <ac:chgData name="Cyrille Scuri" userId="0ff3ad52-7312-41f1-b45c-1187e0d5d8d9" providerId="ADAL" clId="{0AF707A7-7C30-4A84-850C-793DC22ED62D}" dt="2022-09-19T14:46:22.517" v="503" actId="1440"/>
          <ac:picMkLst>
            <pc:docMk/>
            <pc:sldMk cId="3309534112" sldId="2147469382"/>
            <ac:picMk id="3" creationId="{1F033447-C1E0-6991-9F26-2AE129FD5D0B}"/>
          </ac:picMkLst>
        </pc:picChg>
      </pc:sldChg>
      <pc:sldChg chg="del">
        <pc:chgData name="Cyrille Scuri" userId="0ff3ad52-7312-41f1-b45c-1187e0d5d8d9" providerId="ADAL" clId="{0AF707A7-7C30-4A84-850C-793DC22ED62D}" dt="2022-09-19T14:27:25.459" v="212" actId="47"/>
        <pc:sldMkLst>
          <pc:docMk/>
          <pc:sldMk cId="1006594461" sldId="2147469383"/>
        </pc:sldMkLst>
      </pc:sldChg>
      <pc:sldChg chg="modSp mod">
        <pc:chgData name="Cyrille Scuri" userId="0ff3ad52-7312-41f1-b45c-1187e0d5d8d9" providerId="ADAL" clId="{0AF707A7-7C30-4A84-850C-793DC22ED62D}" dt="2022-09-19T14:27:33.813" v="214" actId="14100"/>
        <pc:sldMkLst>
          <pc:docMk/>
          <pc:sldMk cId="732975628" sldId="2147469384"/>
        </pc:sldMkLst>
        <pc:picChg chg="mod">
          <ac:chgData name="Cyrille Scuri" userId="0ff3ad52-7312-41f1-b45c-1187e0d5d8d9" providerId="ADAL" clId="{0AF707A7-7C30-4A84-850C-793DC22ED62D}" dt="2022-09-19T14:27:33.813" v="214" actId="14100"/>
          <ac:picMkLst>
            <pc:docMk/>
            <pc:sldMk cId="732975628" sldId="2147469384"/>
            <ac:picMk id="3" creationId="{F7A326DA-E370-3CEB-830A-E4265DC7FD36}"/>
          </ac:picMkLst>
        </pc:picChg>
      </pc:sldChg>
      <pc:sldChg chg="addSp modSp mod">
        <pc:chgData name="Cyrille Scuri" userId="0ff3ad52-7312-41f1-b45c-1187e0d5d8d9" providerId="ADAL" clId="{0AF707A7-7C30-4A84-850C-793DC22ED62D}" dt="2022-09-19T14:46:31.723" v="506" actId="1440"/>
        <pc:sldMkLst>
          <pc:docMk/>
          <pc:sldMk cId="1733454301" sldId="2147469386"/>
        </pc:sldMkLst>
        <pc:picChg chg="add mod">
          <ac:chgData name="Cyrille Scuri" userId="0ff3ad52-7312-41f1-b45c-1187e0d5d8d9" providerId="ADAL" clId="{0AF707A7-7C30-4A84-850C-793DC22ED62D}" dt="2022-09-19T14:46:31.723" v="506" actId="1440"/>
          <ac:picMkLst>
            <pc:docMk/>
            <pc:sldMk cId="1733454301" sldId="2147469386"/>
            <ac:picMk id="2" creationId="{1388924A-C902-40F9-8F3C-737BC507BCC1}"/>
          </ac:picMkLst>
        </pc:picChg>
        <pc:picChg chg="mod">
          <ac:chgData name="Cyrille Scuri" userId="0ff3ad52-7312-41f1-b45c-1187e0d5d8d9" providerId="ADAL" clId="{0AF707A7-7C30-4A84-850C-793DC22ED62D}" dt="2022-09-19T14:46:30.209" v="505" actId="1440"/>
          <ac:picMkLst>
            <pc:docMk/>
            <pc:sldMk cId="1733454301" sldId="2147469386"/>
            <ac:picMk id="4" creationId="{30B77C48-F66A-2ABD-3D59-36CE8C57DDEF}"/>
          </ac:picMkLst>
        </pc:picChg>
      </pc:sldChg>
      <pc:sldChg chg="del">
        <pc:chgData name="Cyrille Scuri" userId="0ff3ad52-7312-41f1-b45c-1187e0d5d8d9" providerId="ADAL" clId="{0AF707A7-7C30-4A84-850C-793DC22ED62D}" dt="2022-09-19T14:28:05.293" v="219" actId="47"/>
        <pc:sldMkLst>
          <pc:docMk/>
          <pc:sldMk cId="3532240099" sldId="2147469387"/>
        </pc:sldMkLst>
      </pc:sldChg>
      <pc:sldChg chg="del">
        <pc:chgData name="Cyrille Scuri" userId="0ff3ad52-7312-41f1-b45c-1187e0d5d8d9" providerId="ADAL" clId="{0AF707A7-7C30-4A84-850C-793DC22ED62D}" dt="2022-09-19T14:28:33.854" v="229" actId="47"/>
        <pc:sldMkLst>
          <pc:docMk/>
          <pc:sldMk cId="2557336064" sldId="2147469388"/>
        </pc:sldMkLst>
      </pc:sldChg>
      <pc:sldChg chg="del modAnim">
        <pc:chgData name="Cyrille Scuri" userId="0ff3ad52-7312-41f1-b45c-1187e0d5d8d9" providerId="ADAL" clId="{0AF707A7-7C30-4A84-850C-793DC22ED62D}" dt="2022-09-20T07:28:22.186" v="580" actId="47"/>
        <pc:sldMkLst>
          <pc:docMk/>
          <pc:sldMk cId="3089943089" sldId="2147469389"/>
        </pc:sldMkLst>
      </pc:sldChg>
      <pc:sldChg chg="del modAnim">
        <pc:chgData name="Cyrille Scuri" userId="0ff3ad52-7312-41f1-b45c-1187e0d5d8d9" providerId="ADAL" clId="{0AF707A7-7C30-4A84-850C-793DC22ED62D}" dt="2022-09-20T07:28:48.501" v="590" actId="47"/>
        <pc:sldMkLst>
          <pc:docMk/>
          <pc:sldMk cId="2040378997" sldId="2147469390"/>
        </pc:sldMkLst>
      </pc:sldChg>
      <pc:sldChg chg="modSp mod modAnim">
        <pc:chgData name="Cyrille Scuri" userId="0ff3ad52-7312-41f1-b45c-1187e0d5d8d9" providerId="ADAL" clId="{0AF707A7-7C30-4A84-850C-793DC22ED62D}" dt="2022-09-20T07:29:05.127" v="600" actId="20577"/>
        <pc:sldMkLst>
          <pc:docMk/>
          <pc:sldMk cId="814208224" sldId="2147469391"/>
        </pc:sldMkLst>
        <pc:spChg chg="mod">
          <ac:chgData name="Cyrille Scuri" userId="0ff3ad52-7312-41f1-b45c-1187e0d5d8d9" providerId="ADAL" clId="{0AF707A7-7C30-4A84-850C-793DC22ED62D}" dt="2022-09-20T07:29:02.236" v="599" actId="20577"/>
          <ac:spMkLst>
            <pc:docMk/>
            <pc:sldMk cId="814208224" sldId="2147469391"/>
            <ac:spMk id="20" creationId="{1C6CFFA9-0A69-9D31-637F-714419DC03DD}"/>
          </ac:spMkLst>
        </pc:spChg>
        <pc:spChg chg="mod">
          <ac:chgData name="Cyrille Scuri" userId="0ff3ad52-7312-41f1-b45c-1187e0d5d8d9" providerId="ADAL" clId="{0AF707A7-7C30-4A84-850C-793DC22ED62D}" dt="2022-09-20T07:29:05.127" v="600" actId="20577"/>
          <ac:spMkLst>
            <pc:docMk/>
            <pc:sldMk cId="814208224" sldId="2147469391"/>
            <ac:spMk id="22" creationId="{07D49F20-7A49-C178-58FD-47859236C5CF}"/>
          </ac:spMkLst>
        </pc:spChg>
      </pc:sldChg>
      <pc:sldChg chg="del">
        <pc:chgData name="Cyrille Scuri" userId="0ff3ad52-7312-41f1-b45c-1187e0d5d8d9" providerId="ADAL" clId="{0AF707A7-7C30-4A84-850C-793DC22ED62D}" dt="2022-09-19T13:15:16.636" v="27" actId="47"/>
        <pc:sldMkLst>
          <pc:docMk/>
          <pc:sldMk cId="363868633" sldId="2147469392"/>
        </pc:sldMkLst>
      </pc:sldChg>
      <pc:sldChg chg="modSp">
        <pc:chgData name="Cyrille Scuri" userId="0ff3ad52-7312-41f1-b45c-1187e0d5d8d9" providerId="ADAL" clId="{0AF707A7-7C30-4A84-850C-793DC22ED62D}" dt="2022-09-20T08:49:17.738" v="646" actId="20577"/>
        <pc:sldMkLst>
          <pc:docMk/>
          <pc:sldMk cId="673188069" sldId="2147469393"/>
        </pc:sldMkLst>
        <pc:spChg chg="mod">
          <ac:chgData name="Cyrille Scuri" userId="0ff3ad52-7312-41f1-b45c-1187e0d5d8d9" providerId="ADAL" clId="{0AF707A7-7C30-4A84-850C-793DC22ED62D}" dt="2022-09-20T08:49:17.738" v="646" actId="20577"/>
          <ac:spMkLst>
            <pc:docMk/>
            <pc:sldMk cId="673188069" sldId="2147469393"/>
            <ac:spMk id="18" creationId="{3C0F60BA-DFBF-1EC0-2C16-5C914376BADE}"/>
          </ac:spMkLst>
        </pc:spChg>
      </pc:sldChg>
      <pc:sldChg chg="addSp delSp modSp new del mod">
        <pc:chgData name="Cyrille Scuri" userId="0ff3ad52-7312-41f1-b45c-1187e0d5d8d9" providerId="ADAL" clId="{0AF707A7-7C30-4A84-850C-793DC22ED62D}" dt="2022-09-19T13:30:29.296" v="89" actId="47"/>
        <pc:sldMkLst>
          <pc:docMk/>
          <pc:sldMk cId="2463439764" sldId="2147469395"/>
        </pc:sldMkLst>
        <pc:picChg chg="add del mod modCrop">
          <ac:chgData name="Cyrille Scuri" userId="0ff3ad52-7312-41f1-b45c-1187e0d5d8d9" providerId="ADAL" clId="{0AF707A7-7C30-4A84-850C-793DC22ED62D}" dt="2022-09-19T13:25:42.814" v="52" actId="478"/>
          <ac:picMkLst>
            <pc:docMk/>
            <pc:sldMk cId="2463439764" sldId="2147469395"/>
            <ac:picMk id="3" creationId="{E0B6AD1C-5155-2A7B-D11A-A85F666CAF01}"/>
          </ac:picMkLst>
        </pc:picChg>
      </pc:sldChg>
      <pc:sldChg chg="addSp delSp modSp new mod ord">
        <pc:chgData name="Cyrille Scuri" userId="0ff3ad52-7312-41f1-b45c-1187e0d5d8d9" providerId="ADAL" clId="{0AF707A7-7C30-4A84-850C-793DC22ED62D}" dt="2022-09-19T13:44:55.862" v="148" actId="14100"/>
        <pc:sldMkLst>
          <pc:docMk/>
          <pc:sldMk cId="2029814101" sldId="2147469396"/>
        </pc:sldMkLst>
        <pc:spChg chg="add mod">
          <ac:chgData name="Cyrille Scuri" userId="0ff3ad52-7312-41f1-b45c-1187e0d5d8d9" providerId="ADAL" clId="{0AF707A7-7C30-4A84-850C-793DC22ED62D}" dt="2022-09-19T13:44:55.862" v="148" actId="14100"/>
          <ac:spMkLst>
            <pc:docMk/>
            <pc:sldMk cId="2029814101" sldId="2147469396"/>
            <ac:spMk id="8" creationId="{764E28AA-93DD-BD5A-7254-E69FAC9DB75D}"/>
          </ac:spMkLst>
        </pc:spChg>
        <pc:picChg chg="add del mod">
          <ac:chgData name="Cyrille Scuri" userId="0ff3ad52-7312-41f1-b45c-1187e0d5d8d9" providerId="ADAL" clId="{0AF707A7-7C30-4A84-850C-793DC22ED62D}" dt="2022-09-19T13:25:02.581" v="46" actId="478"/>
          <ac:picMkLst>
            <pc:docMk/>
            <pc:sldMk cId="2029814101" sldId="2147469396"/>
            <ac:picMk id="3" creationId="{615C6E24-7785-6CD9-E705-B937E8EFD976}"/>
          </ac:picMkLst>
        </pc:picChg>
        <pc:picChg chg="add mod">
          <ac:chgData name="Cyrille Scuri" userId="0ff3ad52-7312-41f1-b45c-1187e0d5d8d9" providerId="ADAL" clId="{0AF707A7-7C30-4A84-850C-793DC22ED62D}" dt="2022-09-19T13:25:32.247" v="51" actId="1076"/>
          <ac:picMkLst>
            <pc:docMk/>
            <pc:sldMk cId="2029814101" sldId="2147469396"/>
            <ac:picMk id="5" creationId="{D53352B5-90DC-4594-3033-95151DDF3528}"/>
          </ac:picMkLst>
        </pc:picChg>
      </pc:sldChg>
      <pc:sldChg chg="addSp modSp new mod">
        <pc:chgData name="Cyrille Scuri" userId="0ff3ad52-7312-41f1-b45c-1187e0d5d8d9" providerId="ADAL" clId="{0AF707A7-7C30-4A84-850C-793DC22ED62D}" dt="2022-09-19T13:42:00.982" v="129" actId="403"/>
        <pc:sldMkLst>
          <pc:docMk/>
          <pc:sldMk cId="3074318552" sldId="2147469397"/>
        </pc:sldMkLst>
        <pc:spChg chg="add mod">
          <ac:chgData name="Cyrille Scuri" userId="0ff3ad52-7312-41f1-b45c-1187e0d5d8d9" providerId="ADAL" clId="{0AF707A7-7C30-4A84-850C-793DC22ED62D}" dt="2022-09-19T13:42:00.982" v="129" actId="403"/>
          <ac:spMkLst>
            <pc:docMk/>
            <pc:sldMk cId="3074318552" sldId="2147469397"/>
            <ac:spMk id="4" creationId="{061C584D-04BE-6AC3-8039-C1E7F9323F42}"/>
          </ac:spMkLst>
        </pc:spChg>
        <pc:picChg chg="add mod">
          <ac:chgData name="Cyrille Scuri" userId="0ff3ad52-7312-41f1-b45c-1187e0d5d8d9" providerId="ADAL" clId="{0AF707A7-7C30-4A84-850C-793DC22ED62D}" dt="2022-09-19T13:38:17.402" v="96" actId="14100"/>
          <ac:picMkLst>
            <pc:docMk/>
            <pc:sldMk cId="3074318552" sldId="2147469397"/>
            <ac:picMk id="3" creationId="{219EEF8A-1D58-A42F-A527-9AAF4AE5284C}"/>
          </ac:picMkLst>
        </pc:picChg>
      </pc:sldChg>
      <pc:sldChg chg="addSp delSp modSp add mod">
        <pc:chgData name="Cyrille Scuri" userId="0ff3ad52-7312-41f1-b45c-1187e0d5d8d9" providerId="ADAL" clId="{0AF707A7-7C30-4A84-850C-793DC22ED62D}" dt="2022-09-20T07:28:12.815" v="579" actId="478"/>
        <pc:sldMkLst>
          <pc:docMk/>
          <pc:sldMk cId="508335638" sldId="2147469398"/>
        </pc:sldMkLst>
        <pc:spChg chg="add del">
          <ac:chgData name="Cyrille Scuri" userId="0ff3ad52-7312-41f1-b45c-1187e0d5d8d9" providerId="ADAL" clId="{0AF707A7-7C30-4A84-850C-793DC22ED62D}" dt="2022-09-20T07:28:12.085" v="578" actId="478"/>
          <ac:spMkLst>
            <pc:docMk/>
            <pc:sldMk cId="508335638" sldId="2147469398"/>
            <ac:spMk id="20" creationId="{1C6CFFA9-0A69-9D31-637F-714419DC03DD}"/>
          </ac:spMkLst>
        </pc:spChg>
        <pc:spChg chg="mod">
          <ac:chgData name="Cyrille Scuri" userId="0ff3ad52-7312-41f1-b45c-1187e0d5d8d9" providerId="ADAL" clId="{0AF707A7-7C30-4A84-850C-793DC22ED62D}" dt="2022-09-20T07:27:55.579" v="572" actId="20577"/>
          <ac:spMkLst>
            <pc:docMk/>
            <pc:sldMk cId="508335638" sldId="2147469398"/>
            <ac:spMk id="22" creationId="{07D49F20-7A49-C178-58FD-47859236C5CF}"/>
          </ac:spMkLst>
        </pc:spChg>
        <pc:picChg chg="add del">
          <ac:chgData name="Cyrille Scuri" userId="0ff3ad52-7312-41f1-b45c-1187e0d5d8d9" providerId="ADAL" clId="{0AF707A7-7C30-4A84-850C-793DC22ED62D}" dt="2022-09-20T07:28:12.815" v="579" actId="478"/>
          <ac:picMkLst>
            <pc:docMk/>
            <pc:sldMk cId="508335638" sldId="2147469398"/>
            <ac:picMk id="30" creationId="{8BA21235-9AC4-1E90-4BCE-E383D0B42E9C}"/>
          </ac:picMkLst>
        </pc:picChg>
      </pc:sldChg>
      <pc:sldChg chg="modSp add del mod">
        <pc:chgData name="Cyrille Scuri" userId="0ff3ad52-7312-41f1-b45c-1187e0d5d8d9" providerId="ADAL" clId="{0AF707A7-7C30-4A84-850C-793DC22ED62D}" dt="2022-09-19T14:06:56.937" v="163" actId="47"/>
        <pc:sldMkLst>
          <pc:docMk/>
          <pc:sldMk cId="2372991463" sldId="2147469398"/>
        </pc:sldMkLst>
        <pc:picChg chg="mod">
          <ac:chgData name="Cyrille Scuri" userId="0ff3ad52-7312-41f1-b45c-1187e0d5d8d9" providerId="ADAL" clId="{0AF707A7-7C30-4A84-850C-793DC22ED62D}" dt="2022-09-19T14:06:47.487" v="161" actId="14100"/>
          <ac:picMkLst>
            <pc:docMk/>
            <pc:sldMk cId="2372991463" sldId="2147469398"/>
            <ac:picMk id="3" creationId="{FB89A673-DBE6-11CC-F589-F1AD12D78B93}"/>
          </ac:picMkLst>
        </pc:picChg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3634424024" sldId="2147469399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1429535680" sldId="2147469400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1746998203" sldId="2147469401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666055212" sldId="2147469402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3648462824" sldId="2147469403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3701911455" sldId="2147469404"/>
        </pc:sldMkLst>
      </pc:sldChg>
      <pc:sldChg chg="add">
        <pc:chgData name="Cyrille Scuri" userId="0ff3ad52-7312-41f1-b45c-1187e0d5d8d9" providerId="ADAL" clId="{0AF707A7-7C30-4A84-850C-793DC22ED62D}" dt="2022-09-20T07:27:42.019" v="569"/>
        <pc:sldMkLst>
          <pc:docMk/>
          <pc:sldMk cId="1128358704" sldId="2147469405"/>
        </pc:sldMkLst>
      </pc:sldChg>
      <pc:sldChg chg="modSp add mod">
        <pc:chgData name="Cyrille Scuri" userId="0ff3ad52-7312-41f1-b45c-1187e0d5d8d9" providerId="ADAL" clId="{0AF707A7-7C30-4A84-850C-793DC22ED62D}" dt="2022-09-20T07:28:40.231" v="589" actId="20577"/>
        <pc:sldMkLst>
          <pc:docMk/>
          <pc:sldMk cId="350160197" sldId="2147469406"/>
        </pc:sldMkLst>
        <pc:spChg chg="mod">
          <ac:chgData name="Cyrille Scuri" userId="0ff3ad52-7312-41f1-b45c-1187e0d5d8d9" providerId="ADAL" clId="{0AF707A7-7C30-4A84-850C-793DC22ED62D}" dt="2022-09-20T07:28:40.231" v="589" actId="20577"/>
          <ac:spMkLst>
            <pc:docMk/>
            <pc:sldMk cId="350160197" sldId="2147469406"/>
            <ac:spMk id="20" creationId="{1C6CFFA9-0A69-9D31-637F-714419DC03DD}"/>
          </ac:spMkLst>
        </pc:spChg>
      </pc:sldChg>
    </pc:docChg>
  </pc:docChgLst>
  <pc:docChgLst>
    <pc:chgData name="Adrien Grenat" userId="S::adrien.grenat@sirionlabs.com::47f04720-d3c9-481f-98e8-8a0881ee2cfb" providerId="AD" clId="Web-{17C09916-89F5-6881-7F6F-3908C4CF9609}"/>
    <pc:docChg chg="modSld">
      <pc:chgData name="Adrien Grenat" userId="S::adrien.grenat@sirionlabs.com::47f04720-d3c9-481f-98e8-8a0881ee2cfb" providerId="AD" clId="Web-{17C09916-89F5-6881-7F6F-3908C4CF9609}" dt="2022-10-11T17:55:02.867" v="2" actId="20577"/>
      <pc:docMkLst>
        <pc:docMk/>
      </pc:docMkLst>
      <pc:sldChg chg="modSp">
        <pc:chgData name="Adrien Grenat" userId="S::adrien.grenat@sirionlabs.com::47f04720-d3c9-481f-98e8-8a0881ee2cfb" providerId="AD" clId="Web-{17C09916-89F5-6881-7F6F-3908C4CF9609}" dt="2022-10-11T17:55:02.867" v="2" actId="20577"/>
        <pc:sldMkLst>
          <pc:docMk/>
          <pc:sldMk cId="855317441" sldId="2147469268"/>
        </pc:sldMkLst>
        <pc:spChg chg="mod">
          <ac:chgData name="Adrien Grenat" userId="S::adrien.grenat@sirionlabs.com::47f04720-d3c9-481f-98e8-8a0881ee2cfb" providerId="AD" clId="Web-{17C09916-89F5-6881-7F6F-3908C4CF9609}" dt="2022-10-11T17:55:02.867" v="2" actId="20577"/>
          <ac:spMkLst>
            <pc:docMk/>
            <pc:sldMk cId="855317441" sldId="2147469268"/>
            <ac:spMk id="41" creationId="{4F318C15-526A-E1CF-A2A3-DF266BB9A3B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>
                <a:alpha val="71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328F4">
                  <a:alpha val="7098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D5ED-44DD-B296-0BB0271E21BA}"/>
              </c:ext>
            </c:extLst>
          </c:dPt>
          <c:dPt>
            <c:idx val="2"/>
            <c:invertIfNegative val="0"/>
            <c:bubble3D val="0"/>
            <c:spPr>
              <a:solidFill>
                <a:srgbClr val="F02CB8">
                  <a:alpha val="7098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ED-44DD-B296-0BB0271E21BA}"/>
              </c:ext>
            </c:extLst>
          </c:dPt>
          <c:dPt>
            <c:idx val="3"/>
            <c:invertIfNegative val="0"/>
            <c:bubble3D val="0"/>
            <c:spPr>
              <a:solidFill>
                <a:srgbClr val="32EA8E">
                  <a:alpha val="70980"/>
                </a:srgb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D5ED-44DD-B296-0BB0271E21B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>
                  <a:lumMod val="40000"/>
                  <a:lumOff val="60000"/>
                  <a:alpha val="70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ED-44DD-B296-0BB0271E21B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ind my contracts easily</c:v>
                </c:pt>
                <c:pt idx="1">
                  <c:v> Speed up and simplify my contracting processes</c:v>
                </c:pt>
                <c:pt idx="2">
                  <c:v>To be in compliance with the regulations</c:v>
                </c:pt>
                <c:pt idx="3">
                  <c:v>Identify and assess contractual risks at the right time</c:v>
                </c:pt>
                <c:pt idx="4">
                  <c:v>Monitor the status of suppliers' obligation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2</c:v>
                </c:pt>
                <c:pt idx="1">
                  <c:v>0.53</c:v>
                </c:pt>
                <c:pt idx="2">
                  <c:v>0.32</c:v>
                </c:pt>
                <c:pt idx="3">
                  <c:v>0.71</c:v>
                </c:pt>
                <c:pt idx="4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ED-44DD-B296-0BB0271E21B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060601087"/>
        <c:axId val="1060625215"/>
      </c:barChart>
      <c:catAx>
        <c:axId val="10606010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0625215"/>
        <c:crosses val="autoZero"/>
        <c:auto val="1"/>
        <c:lblAlgn val="ctr"/>
        <c:lblOffset val="100"/>
        <c:noMultiLvlLbl val="0"/>
      </c:catAx>
      <c:valAx>
        <c:axId val="1060625215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0601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487451-B1FE-4A54-9AD9-C70FEC3E7A7D}" type="datetimeFigureOut">
              <a:rPr lang="fr-FR" smtClean="0"/>
              <a:t>13/10/22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B600B-5BE4-469C-9A56-95FA3565F3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8437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36754-3EE5-4D54-BDD5-2F0B92D0C4F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2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690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9390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dirty="0"/>
              <a:t>Digitization :</a:t>
            </a:r>
          </a:p>
          <a:p>
            <a:r>
              <a:rPr lang="en-US" sz="1000" b="0" i="0" u="none" strike="noStrike" baseline="0" dirty="0"/>
              <a:t>Up to 80%  - Reduction in extraction time at 50% lower cost as compared to traditional options.</a:t>
            </a:r>
          </a:p>
          <a:p>
            <a:r>
              <a:rPr lang="en-IN" sz="1000" b="0" dirty="0">
                <a:solidFill>
                  <a:schemeClr val="bg1"/>
                </a:solidFill>
                <a:sym typeface="Abel"/>
              </a:rPr>
              <a:t>Up to </a:t>
            </a:r>
            <a:r>
              <a:rPr lang="en-US" sz="1000" b="0" dirty="0">
                <a:sym typeface="Abel"/>
              </a:rPr>
              <a:t>60% - Reduction in manual effort</a:t>
            </a:r>
          </a:p>
          <a:p>
            <a:r>
              <a:rPr lang="en-US" sz="1000" b="1" dirty="0">
                <a:sym typeface="Abel"/>
              </a:rPr>
              <a:t>Contracting :</a:t>
            </a:r>
          </a:p>
          <a:p>
            <a:r>
              <a:rPr lang="en-US" sz="1200" b="0" i="0" u="none" strike="noStrike" baseline="0" dirty="0">
                <a:solidFill>
                  <a:schemeClr val="bg1"/>
                </a:solidFill>
              </a:rPr>
              <a:t>Up to 90%  - </a:t>
            </a:r>
            <a:r>
              <a:rPr lang="en-US" sz="1000" b="0" i="0" u="none" strike="noStrike" baseline="0" dirty="0">
                <a:solidFill>
                  <a:schemeClr val="bg1"/>
                </a:solidFill>
              </a:rPr>
              <a:t>Reduction in time spent on creating first draf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ym typeface="Abel"/>
              </a:rPr>
              <a:t>Up to 40% - </a:t>
            </a:r>
            <a:r>
              <a:rPr lang="en-US" sz="1000" dirty="0">
                <a:sym typeface="Abel"/>
              </a:rPr>
              <a:t>Reduction in CLM cost</a:t>
            </a:r>
            <a:endParaRPr lang="en-US" sz="1000" b="0" i="0" u="none" strike="noStrike" baseline="0" dirty="0">
              <a:solidFill>
                <a:schemeClr val="bg1"/>
              </a:solidFill>
            </a:endParaRPr>
          </a:p>
          <a:p>
            <a:r>
              <a:rPr lang="en-US" sz="1000" b="1" i="0" u="none" strike="noStrike" baseline="0" dirty="0">
                <a:solidFill>
                  <a:schemeClr val="bg1"/>
                </a:solidFill>
                <a:sym typeface="Abel"/>
              </a:rPr>
              <a:t>Performance</a:t>
            </a:r>
            <a:endParaRPr lang="en-IN" sz="800" b="1" dirty="0">
              <a:solidFill>
                <a:schemeClr val="bg1"/>
              </a:solidFill>
              <a:sym typeface="Abel"/>
            </a:endParaRPr>
          </a:p>
          <a:p>
            <a:r>
              <a:rPr lang="en-US" sz="1000" i="0" u="none" strike="noStrike" baseline="0" dirty="0"/>
              <a:t>Up to 6-12%  - </a:t>
            </a:r>
            <a:r>
              <a:rPr lang="en-US" sz="1100" b="0" i="0" u="none" strike="noStrike" baseline="0" dirty="0"/>
              <a:t>Hard value leakage plugged at invoice level.</a:t>
            </a:r>
            <a:endParaRPr lang="en-IN" sz="800" dirty="0">
              <a:sym typeface="Abel"/>
            </a:endParaRPr>
          </a:p>
          <a:p>
            <a:r>
              <a:rPr lang="en-US" sz="1400" b="0" i="0" u="none" strike="noStrike" baseline="0" dirty="0"/>
              <a:t>Up to 4-8%  - </a:t>
            </a:r>
            <a:r>
              <a:rPr lang="en-US" b="0" i="0" u="none" strike="noStrike" baseline="0" dirty="0"/>
              <a:t>Soft value leakage plugged in terms of unrealized business gains.</a:t>
            </a:r>
          </a:p>
          <a:p>
            <a:r>
              <a:rPr lang="en-US" sz="1000" b="0" i="0" u="none" strike="noStrike" baseline="0" dirty="0"/>
              <a:t>Up to 60% - </a:t>
            </a:r>
            <a:r>
              <a:rPr lang="en-US" sz="1100" b="0" i="0" u="none" strike="noStrike" baseline="0" dirty="0"/>
              <a:t>Reduction in supplier governance effort.</a:t>
            </a:r>
            <a:endParaRPr lang="en-IN" sz="800" b="0" dirty="0">
              <a:sym typeface="Abel"/>
            </a:endParaRPr>
          </a:p>
          <a:p>
            <a:endParaRPr lang="en-IN" sz="900" dirty="0">
              <a:sym typeface="Abel"/>
            </a:endParaRPr>
          </a:p>
          <a:p>
            <a:r>
              <a:rPr lang="en-US" b="1" dirty="0"/>
              <a:t>Global</a:t>
            </a:r>
          </a:p>
          <a:p>
            <a:r>
              <a:rPr lang="en-US" sz="1800" dirty="0">
                <a:sym typeface="Abel"/>
              </a:rPr>
              <a:t>Single source of truth - </a:t>
            </a:r>
            <a:r>
              <a:rPr lang="en-US" sz="1600" dirty="0">
                <a:sym typeface="Abel"/>
              </a:rPr>
              <a:t>Provide 360-degree view of delivered value to clients</a:t>
            </a:r>
          </a:p>
          <a:p>
            <a:r>
              <a:rPr lang="en-US" sz="1600" dirty="0">
                <a:sym typeface="Abel"/>
              </a:rPr>
              <a:t>Data-driven insights - </a:t>
            </a:r>
            <a:r>
              <a:rPr lang="en-US" sz="2000" dirty="0">
                <a:sym typeface="Abel"/>
              </a:rPr>
              <a:t>Leverage unprecedented analytics while you negotiate</a:t>
            </a:r>
            <a:r>
              <a:rPr lang="en-US" dirty="0">
                <a:sym typeface="Abel"/>
              </a:rPr>
              <a:t>. </a:t>
            </a:r>
            <a:endParaRPr lang="en-IN" dirty="0">
              <a:sym typeface="Abel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664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93827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59974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0217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50067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1385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2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F36754-3EE5-4D54-BDD5-2F0B92D0C4F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22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566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London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8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8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London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8E5A270-831A-4AE7-9D89-E7D59FB24D1C}"/>
              </a:ext>
            </a:extLst>
          </p:cNvPr>
          <p:cNvSpPr txBox="1">
            <a:spLocks/>
          </p:cNvSpPr>
          <p:nvPr userDrawn="1"/>
        </p:nvSpPr>
        <p:spPr>
          <a:xfrm>
            <a:off x="3116944" y="395978"/>
            <a:ext cx="5396165" cy="372725"/>
          </a:xfrm>
          <a:prstGeom prst="rect">
            <a:avLst/>
          </a:prstGeom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 i="0" kern="1200" spc="200" baseline="0">
                <a:solidFill>
                  <a:schemeClr val="bg1"/>
                </a:solidFill>
                <a:latin typeface="Proxima Nova Semibold" charset="0"/>
                <a:ea typeface="Proxima Nova Semibold" charset="0"/>
                <a:cs typeface="Proxima Nova Semibold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5pPr>
            <a:lvl6pPr marL="342891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6pPr>
            <a:lvl7pPr marL="685783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7pPr>
            <a:lvl8pPr marL="1028674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8pPr>
            <a:lvl9pPr marL="1371566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800" b="0" spc="0">
              <a:solidFill>
                <a:prstClr val="white"/>
              </a:solidFill>
              <a:latin typeface="Calibri"/>
              <a:ea typeface="Proxima Nova" charset="0"/>
              <a:cs typeface="Proxima No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695288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994037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2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4631259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18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79404562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06"/>
            <a:ext cx="4564948" cy="65665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10" y="466724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10" y="535828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10" y="6049311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E50E032-2FA1-294D-A641-48AF169A971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C304F49A-9209-9846-B568-034486AB6A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2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9358721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sz="1800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3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60" y="6011524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80" y="6011524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10" y="6011524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34404626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14"/>
            <a:ext cx="4564948" cy="65665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8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1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555975-A20A-8B46-B688-F42166A07799}"/>
              </a:ext>
            </a:extLst>
          </p:cNvPr>
          <p:cNvSpPr/>
          <p:nvPr userDrawn="1"/>
        </p:nvSpPr>
        <p:spPr>
          <a:xfrm>
            <a:off x="4439235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4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D12DC80-E04F-004E-9B00-572E55017B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24300987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06"/>
            <a:ext cx="4564948" cy="65665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10" y="466724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10" y="535828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10" y="6049311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0031135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63472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 userDrawn="1">
            <p:ph type="pic" sz="quarter" idx="13"/>
          </p:nvPr>
        </p:nvSpPr>
        <p:spPr>
          <a:xfrm>
            <a:off x="5574654" y="1573168"/>
            <a:ext cx="1042694" cy="104269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 userDrawn="1">
            <p:ph type="pic" sz="quarter" idx="14"/>
          </p:nvPr>
        </p:nvSpPr>
        <p:spPr>
          <a:xfrm>
            <a:off x="1839630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  <p:sp>
        <p:nvSpPr>
          <p:cNvPr id="24" name="Picture Placeholder 13"/>
          <p:cNvSpPr>
            <a:spLocks noGrp="1"/>
          </p:cNvSpPr>
          <p:nvPr userDrawn="1">
            <p:ph type="pic" sz="quarter" idx="15"/>
          </p:nvPr>
        </p:nvSpPr>
        <p:spPr>
          <a:xfrm>
            <a:off x="3760624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  <p:sp>
        <p:nvSpPr>
          <p:cNvPr id="25" name="Picture Placeholder 13"/>
          <p:cNvSpPr>
            <a:spLocks noGrp="1"/>
          </p:cNvSpPr>
          <p:nvPr userDrawn="1">
            <p:ph type="pic" sz="quarter" idx="16"/>
          </p:nvPr>
        </p:nvSpPr>
        <p:spPr>
          <a:xfrm>
            <a:off x="5679204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  <p:sp>
        <p:nvSpPr>
          <p:cNvPr id="26" name="Picture Placeholder 13"/>
          <p:cNvSpPr>
            <a:spLocks noGrp="1"/>
          </p:cNvSpPr>
          <p:nvPr userDrawn="1">
            <p:ph type="pic" sz="quarter" idx="17"/>
          </p:nvPr>
        </p:nvSpPr>
        <p:spPr>
          <a:xfrm>
            <a:off x="7592776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  <p:sp>
        <p:nvSpPr>
          <p:cNvPr id="27" name="Picture Placeholder 13"/>
          <p:cNvSpPr>
            <a:spLocks noGrp="1"/>
          </p:cNvSpPr>
          <p:nvPr userDrawn="1">
            <p:ph type="pic" sz="quarter" idx="18"/>
          </p:nvPr>
        </p:nvSpPr>
        <p:spPr>
          <a:xfrm>
            <a:off x="9498704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86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933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375AF1-5DDC-824B-9204-152EFDB2A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07662"/>
            <a:ext cx="5486400" cy="360047"/>
          </a:xfrm>
        </p:spPr>
        <p:txBody>
          <a:bodyPr>
            <a:normAutofit/>
          </a:bodyPr>
          <a:lstStyle>
            <a:lvl1pPr marL="0" indent="0" algn="l" defTabSz="1219231" rtl="0" eaLnBrk="1" latinLnBrk="0" hangingPunct="1">
              <a:lnSpc>
                <a:spcPct val="90000"/>
              </a:lnSpc>
              <a:spcBef>
                <a:spcPts val="667"/>
              </a:spcBef>
              <a:buClr>
                <a:srgbClr val="13C7A3"/>
              </a:buClr>
              <a:buFont typeface="Arial" panose="020B0604020202020204" pitchFamily="34" charset="0"/>
              <a:buNone/>
              <a:defRPr lang="en-US" sz="2400" kern="12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9531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6279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30950407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05665-F457-BA4E-9AD6-5DC7AA10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84A3CC-A2A5-9946-8EF9-DE7FB4DED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0F4-5ADB-084F-BC84-2380C6774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28032-1365-FA40-9AB3-20F96682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ACD36-8ED6-4D49-B972-B908C9881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689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BlueSpli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60209F7-F85C-4253-8664-29E1C7B72FA3}"/>
              </a:ext>
            </a:extLst>
          </p:cNvPr>
          <p:cNvSpPr/>
          <p:nvPr userDrawn="1"/>
        </p:nvSpPr>
        <p:spPr>
          <a:xfrm>
            <a:off x="0" y="0"/>
            <a:ext cx="347705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3FE962D-0727-4E80-BB58-769718D85F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806AB6-E685-4FAA-B339-0A5434E91A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196839F-2AC0-4D66-B709-36D14AC8723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F357FE5-76E3-461A-91C3-7C650BA8B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574" y="365126"/>
            <a:ext cx="2921218" cy="1270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90EB667-4321-4817-85CA-81F70771E8B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733314" y="365126"/>
            <a:ext cx="7990808" cy="5811837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460375" indent="-233363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687388" indent="-227013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914400" indent="-227013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39480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02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74E2E-D555-D193-526B-CD88135763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0A97F-CF42-36C0-7C02-F1EB4D5F39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879338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28006651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17914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1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522665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241912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425538295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05665-F457-BA4E-9AD6-5DC7AA10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84A3CC-A2A5-9946-8EF9-DE7FB4DED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0F4-5ADB-084F-BC84-2380C6774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28032-1365-FA40-9AB3-20F96682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ACD36-8ED6-4D49-B972-B908C9881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5911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627088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626505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35358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166172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838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bg>
      <p:bgPr>
        <a:solidFill>
          <a:schemeClr val="accent5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71653" y="1"/>
            <a:ext cx="7742572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51166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page-1">
    <p:bg>
      <p:bgPr>
        <a:solidFill>
          <a:schemeClr val="accent5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71653" y="1"/>
            <a:ext cx="7742572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pic>
        <p:nvPicPr>
          <p:cNvPr id="5" name="Picture 4" descr="London - Wikipedia">
            <a:extLst>
              <a:ext uri="{FF2B5EF4-FFF2-40B4-BE49-F238E27FC236}">
                <a16:creationId xmlns:a16="http://schemas.microsoft.com/office/drawing/2014/main" id="{E07E9264-BAA0-FD48-A92F-900F1A161F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-334963" y="2260112"/>
            <a:ext cx="12192000" cy="6851904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FAE13C97-DD6E-5A41-A22D-30A0A2BA982D}"/>
              </a:ext>
            </a:extLst>
          </p:cNvPr>
          <p:cNvSpPr/>
          <p:nvPr userDrawn="1"/>
        </p:nvSpPr>
        <p:spPr>
          <a:xfrm>
            <a:off x="0" y="0"/>
            <a:ext cx="5782614" cy="6873618"/>
          </a:xfrm>
          <a:prstGeom prst="parallelogram">
            <a:avLst>
              <a:gd name="adj" fmla="val 3791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2716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99749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3BFFD5-9033-FA49-8693-855BB93A3E0F}"/>
              </a:ext>
            </a:extLst>
          </p:cNvPr>
          <p:cNvSpPr/>
          <p:nvPr userDrawn="1"/>
        </p:nvSpPr>
        <p:spPr>
          <a:xfrm>
            <a:off x="334963" y="368300"/>
            <a:ext cx="1080000" cy="36000"/>
          </a:xfrm>
          <a:prstGeom prst="rect">
            <a:avLst/>
          </a:prstGeom>
          <a:solidFill>
            <a:srgbClr val="00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54307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4954375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768083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1987503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379366756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891898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7565595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B75FE-65DF-0446-84D2-15DC57B08A5B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423214598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344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8856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84782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1010641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197993071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073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B75FE-65DF-0446-84D2-15DC57B08A5B}"/>
              </a:ext>
            </a:extLst>
          </p:cNvPr>
          <p:cNvSpPr txBox="1"/>
          <p:nvPr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390632977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1258052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2629469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4457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7713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380879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498261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144425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34258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5423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06145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22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1162166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426442786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58873461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E50E032-2FA1-294D-A641-48AF169A971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C304F49A-9209-9846-B568-034486AB6A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96579564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4039289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555975-A20A-8B46-B688-F42166A07799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D12DC80-E04F-004E-9B00-572E55017B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81498480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63441077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17642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0AE39-9D9B-3967-77C6-BD1061138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E5B0AA-AB9F-EEBC-4D3D-113EB69293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124583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38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5966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098FD747-4FFD-344F-825C-3FDFB42931D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A7148296-EB59-8F44-979A-85F8AE3F69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38621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84148C4-9797-464F-8888-C6A2095E6617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F48FD23-F6AF-E142-9AD5-C34D8EDFA6C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63128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4261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4856181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94746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311908366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886008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0602686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194068356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19533827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5934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1122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69432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96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1087161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110571300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87886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89298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94523171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2878953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27021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370387004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667211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748980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763609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1241955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81558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52904078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1428092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04848299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 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9482550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2C0F39B1-FF4A-834C-916E-C9CDF997625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DDC9272C-E202-7A42-AFAE-631FFA147E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3703721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360690283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39098265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9DA7A0-8ACF-F144-A4EB-35EDBEC3F416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39DF011-47F2-814A-A918-A3E1DEB0799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41683861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09632947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272503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196962977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-26633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29652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458193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383119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05665-F457-BA4E-9AD6-5DC7AA10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84A3CC-A2A5-9946-8EF9-DE7FB4DED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0F4-5ADB-084F-BC84-2380C6774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28032-1365-FA40-9AB3-20F96682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ACD36-8ED6-4D49-B972-B908C9881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61820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F86056-760E-3542-AF25-61604FF03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9A57CD-4920-ED42-9B30-FAC7943C51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A78576-B6DD-654D-A17A-D88FC60EB5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5805D5-D110-CB44-80CF-B6D74B9EB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F05118-3EAE-CE4E-B893-0BCA6C208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134483-BA15-5B41-A55E-04E27E989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104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ini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DF80F27-FB08-49B0-9E7D-6B185975E9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720" y="266158"/>
            <a:ext cx="1140256" cy="356048"/>
          </a:xfrm>
          <a:prstGeom prst="rect">
            <a:avLst/>
          </a:prstGeom>
        </p:spPr>
      </p:pic>
      <p:sp>
        <p:nvSpPr>
          <p:cNvPr id="5" name="TextBox 20">
            <a:extLst>
              <a:ext uri="{FF2B5EF4-FFF2-40B4-BE49-F238E27FC236}">
                <a16:creationId xmlns:a16="http://schemas.microsoft.com/office/drawing/2014/main" id="{EA8B8A55-755D-4928-BEDC-CC7C0FE5D1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-38069" y="6642851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FDC83F7-FD4E-456C-B808-98AE0948E2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24" y="365126"/>
            <a:ext cx="9814282" cy="356048"/>
          </a:xfrm>
          <a:prstGeom prst="rect">
            <a:avLst/>
          </a:prstGeom>
        </p:spPr>
        <p:txBody>
          <a:bodyPr/>
          <a:lstStyle>
            <a:lvl1pPr algn="l">
              <a:defRPr sz="2200" b="1">
                <a:solidFill>
                  <a:srgbClr val="72717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Obligation Management | </a:t>
            </a:r>
          </a:p>
        </p:txBody>
      </p:sp>
    </p:spTree>
    <p:extLst>
      <p:ext uri="{BB962C8B-B14F-4D97-AF65-F5344CB8AC3E}">
        <p14:creationId xmlns:p14="http://schemas.microsoft.com/office/powerpoint/2010/main" val="2965646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29202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3037C-88E6-8345-8DD9-A1B6E15D2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90ABC-3A28-F342-9228-970596BB34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30BC09-1EB5-1240-8C5A-8B26F5D220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2301CA-6755-7445-BF8B-F63E3E7D3D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D69855-A243-BF49-8E32-BED9D67457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A33949-F6A9-EF47-894A-10E8682B1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AB9FB5-E3CD-284B-A59F-2037AFDFB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8B16D4-8B9A-D147-9B5D-E7CABE3B0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20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5D787-FC2E-EB42-9E14-1B23FC02A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380881-0851-0B45-A751-2F997ACC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EF9734-0074-D343-97D2-D187ABE8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E09EB-E7E5-B34F-A997-1E6034BF1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06877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452BAD7-24BC-D04C-B8FE-0F787F342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2E36FD-E59A-8543-AD94-533989070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D22E12-58E5-3143-9115-764610EBE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715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0CB68-9DCA-394E-949D-324F2866D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2EE903-B9EC-A040-8B6A-FB9C886922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A7DB3C-8F24-944C-87BD-697B05F9B8B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EF5819-D85D-5F45-9A6A-E24C159A1F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B0D2CF-1AE9-144C-AB0B-708BA9D4D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C3D310-ABBB-D248-AFAF-D6C7E9960F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7008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C12EC-7846-4D4C-909D-19D998210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FA9A1C-6ACB-B447-B7CC-C5639F6C33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E57005-ED19-8442-92C9-ACF01272D6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2A0FBD-01B3-BE4F-A56F-3B4D797C3A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997900-2383-AC49-B60C-027E28E0F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B683D1-543D-9140-B372-11414C5BE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15741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55BDB-F2CE-B04D-93F4-82822981F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8C60C6-10FD-FC45-8D21-042F27B886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5F9339-55F4-5F46-BC0F-514D472EC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E0494C-9C26-C042-9845-E0C84A026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0126C-C37B-B645-A381-DE3E8807F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9662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9E68E2E-2F5B-9345-8C34-ACB087B883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DF9CB6-E4E7-AE4E-B12F-72490CE997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15D89A-D797-6540-A693-CC3C34510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DF04EE-4366-D741-B496-63C623CC2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BE5E9-A8D4-2D4C-80D6-5B4DCA97B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76564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. Ltd. The contents of this presentation are proprietary and confidential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18949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4961CADC-5B62-A845-A14E-43373A669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54" y="220436"/>
            <a:ext cx="10515600" cy="5633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45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4270130"/>
      </p:ext>
    </p:extLst>
  </p:cSld>
  <p:clrMapOvr>
    <a:masterClrMapping/>
  </p:clrMapOvr>
  <p:transition spd="slow">
    <p:push dir="u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693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7156240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E1AFC94-4E08-5445-8D58-4FEB9F132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809" y="190263"/>
            <a:ext cx="10684224" cy="8228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420755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098FD747-4FFD-344F-825C-3FDFB42931D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A7148296-EB59-8F44-979A-85F8AE3F69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83508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84148C4-9797-464F-8888-C6A2095E6617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F48FD23-F6AF-E142-9AD5-C34D8EDFA6C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93926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460211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82231431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567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122170263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091445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669830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2121665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425868372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92245918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133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80133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842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153254173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5657629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04549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523035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90587924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030580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2150155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515796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112904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88750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430232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1631146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796935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3202038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49781478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0647520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 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7925673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240608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2C0F39B1-FF4A-834C-916E-C9CDF997625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DDC9272C-E202-7A42-AFAE-631FFA147E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7052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38688459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9DA7A0-8ACF-F144-A4EB-35EDBEC3F416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39DF011-47F2-814A-A918-A3E1DEB0799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280479120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16395057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050562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66100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3185912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3BFFD5-9033-FA49-8693-855BB93A3E0F}"/>
              </a:ext>
            </a:extLst>
          </p:cNvPr>
          <p:cNvSpPr/>
          <p:nvPr/>
        </p:nvSpPr>
        <p:spPr>
          <a:xfrm>
            <a:off x="334963" y="368300"/>
            <a:ext cx="1080000" cy="36000"/>
          </a:xfrm>
          <a:prstGeom prst="rect">
            <a:avLst/>
          </a:prstGeom>
          <a:solidFill>
            <a:srgbClr val="00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87326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72540255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733328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620372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413326911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732604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86328246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B75FE-65DF-0446-84D2-15DC57B08A5B}"/>
              </a:ext>
            </a:extLst>
          </p:cNvPr>
          <p:cNvSpPr txBox="1"/>
          <p:nvPr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145016984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0332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08489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81547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114370301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29634443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97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528268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82566694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427315825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595127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204151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341581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473436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76081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2116689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99167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 dirty="0">
                <a:solidFill>
                  <a:srgbClr val="404040"/>
                </a:solidFill>
              </a:rPr>
              <a:t>© 2012-21 SirionLabs</a:t>
            </a:r>
            <a:r>
              <a:rPr lang="en-US" sz="700" baseline="0" dirty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 dirty="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304836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033902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00333160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1482289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90973549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E50E032-2FA1-294D-A641-48AF169A971C}"/>
              </a:ext>
            </a:extLst>
          </p:cNvPr>
          <p:cNvSpPr/>
          <p:nvPr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C304F49A-9209-9846-B568-034486AB6A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6582699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49739057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555975-A20A-8B46-B688-F42166A07799}"/>
              </a:ext>
            </a:extLst>
          </p:cNvPr>
          <p:cNvSpPr/>
          <p:nvPr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D12DC80-E04F-004E-9B00-572E55017B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295088861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02956679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3571" y="132198"/>
            <a:ext cx="10515600" cy="372725"/>
          </a:xfrm>
          <a:prstGeom prst="rect">
            <a:avLst/>
          </a:prstGeom>
        </p:spPr>
        <p:txBody>
          <a:bodyPr anchor="ctr"/>
          <a:lstStyle>
            <a:lvl1pPr algn="l">
              <a:defRPr sz="1867" b="1" i="0" spc="200" baseline="0">
                <a:latin typeface="Proxima Nova Semibold" charset="0"/>
                <a:ea typeface="Proxima Nova Semibold" charset="0"/>
                <a:cs typeface="Proxima Nova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584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">
        <p:fade/>
      </p:transition>
    </mc:Choice>
    <mc:Fallback xmlns="">
      <p:transition spd="med" advClick="0" advTm="6000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098FD747-4FFD-344F-825C-3FDFB42931D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A7148296-EB59-8F44-979A-85F8AE3F69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264661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84148C4-9797-464F-8888-C6A2095E6617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F48FD23-F6AF-E142-9AD5-C34D8EDFA6C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80507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1610750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874703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7674102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972371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967792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97BE838-0630-C64C-9984-83CFF78A1FAD}"/>
              </a:ext>
            </a:extLst>
          </p:cNvPr>
          <p:cNvSpPr txBox="1"/>
          <p:nvPr userDrawn="1"/>
        </p:nvSpPr>
        <p:spPr>
          <a:xfrm>
            <a:off x="1" y="0"/>
            <a:ext cx="4108784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259030248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987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10238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69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152290928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9194834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35218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8013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832613-5814-74B0-3EEE-EB2453DD5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20951"/>
            <a:ext cx="882111" cy="275442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2AF2A8C8-3945-240B-9C6B-02E5A983B9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11196" y="6506648"/>
            <a:ext cx="718123" cy="29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30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279714309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116349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706755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853842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528838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30933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44062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013732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0174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70719793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16088204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52013988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22430283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 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87770150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2C0F39B1-FF4A-834C-916E-C9CDF997625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DDC9272C-E202-7A42-AFAE-631FFA147E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294146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75922680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9DA7A0-8ACF-F144-A4EB-35EDBEC3F416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039DF011-47F2-814A-A918-A3E1DEB0799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43205025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46230936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05665-F457-BA4E-9AD6-5DC7AA10D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84A3CC-A2A5-9946-8EF9-DE7FB4DED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4D80F4-5ADB-084F-BC84-2380C6774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728032-1365-FA40-9AB3-20F966825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ACD36-8ED6-4D49-B972-B908C9881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2145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A9E961EF-FDC5-1347-9DFF-9720779BF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563" y="246966"/>
            <a:ext cx="10515600" cy="268068"/>
          </a:xfrm>
        </p:spPr>
        <p:txBody>
          <a:bodyPr>
            <a:noAutofit/>
          </a:bodyPr>
          <a:lstStyle>
            <a:lvl1pPr marL="0" indent="0" algn="l" defTabSz="1219292" rtl="0" eaLnBrk="1" latinLnBrk="0" hangingPunct="1">
              <a:spcBef>
                <a:spcPts val="0"/>
              </a:spcBef>
              <a:buFont typeface="Arial" pitchFamily="34" charset="0"/>
              <a:buNone/>
              <a:defRPr lang="en-US" sz="2000" kern="800" spc="-13" dirty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233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28060962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617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. Ltd. The contents of this presentation are proprietary and confidential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9BCB0C6-6455-4A37-B492-BAAD0BD7986A}"/>
              </a:ext>
            </a:extLst>
          </p:cNvPr>
          <p:cNvGrpSpPr/>
          <p:nvPr userDrawn="1"/>
        </p:nvGrpSpPr>
        <p:grpSpPr>
          <a:xfrm>
            <a:off x="361379" y="824441"/>
            <a:ext cx="2654299" cy="84667"/>
            <a:chOff x="0" y="0"/>
            <a:chExt cx="1990846" cy="6366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703E1B6-8D32-4D9D-A81B-D059B69BB04B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en-IN" sz="1867" kern="0">
                <a:solidFill>
                  <a:srgbClr val="FFFFFF"/>
                </a:solidFill>
                <a:latin typeface="Calibri" panose="020F0502020204030204"/>
                <a:sym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77B3F24-7335-4AF0-9ACD-52FE2E07C136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en-IN" sz="1867" kern="0">
                <a:solidFill>
                  <a:srgbClr val="FFFFFF"/>
                </a:solidFill>
                <a:latin typeface="Calibri" panose="020F0502020204030204"/>
                <a:sym typeface="Arial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2CEA996-9292-44AF-8B29-E0070AA639B5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en-IN" sz="1867" kern="0">
                <a:solidFill>
                  <a:srgbClr val="FFFFFF"/>
                </a:solidFill>
                <a:latin typeface="Calibri" panose="020F0502020204030204"/>
                <a:sym typeface="Arial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CCCCEAC-35F7-6B26-8DFC-CAA9847F6A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20951"/>
            <a:ext cx="882111" cy="275442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5CDD3F9E-7BC5-F7E9-95C5-3A4D359517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11196" y="6506648"/>
            <a:ext cx="718123" cy="29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78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00759E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404040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760"/>
              </a:lnSpc>
            </a:pPr>
            <a:r>
              <a:rPr spc="-5"/>
              <a:t>©</a:t>
            </a:r>
            <a:r>
              <a:rPr spc="5"/>
              <a:t> </a:t>
            </a:r>
            <a:r>
              <a:t>2012-21</a:t>
            </a:r>
            <a:r>
              <a:rPr spc="-55"/>
              <a:t> </a:t>
            </a:r>
            <a:r>
              <a:rPr spc="-10"/>
              <a:t>SirionLabs</a:t>
            </a:r>
            <a:r>
              <a:rPr spc="90"/>
              <a:t> </a:t>
            </a:r>
            <a:r>
              <a:rPr spc="-5"/>
              <a:t>Pte.</a:t>
            </a:r>
            <a:r>
              <a:rPr spc="5"/>
              <a:t> </a:t>
            </a:r>
            <a:r>
              <a:rPr spc="-5"/>
              <a:t>Ltd.</a:t>
            </a:r>
            <a:r>
              <a:rPr spc="35"/>
              <a:t> </a:t>
            </a:r>
            <a:r>
              <a:rPr spc="-10"/>
              <a:t>The</a:t>
            </a:r>
            <a:r>
              <a:t> </a:t>
            </a:r>
            <a:r>
              <a:rPr spc="-10"/>
              <a:t>contents</a:t>
            </a:r>
            <a:r>
              <a:rPr spc="55"/>
              <a:t> </a:t>
            </a:r>
            <a:r>
              <a:rPr spc="-10"/>
              <a:t>of</a:t>
            </a:r>
            <a:r>
              <a:rPr spc="15"/>
              <a:t> </a:t>
            </a:r>
            <a:r>
              <a:rPr spc="-5"/>
              <a:t>this</a:t>
            </a:r>
            <a:r>
              <a:rPr spc="10"/>
              <a:t> </a:t>
            </a:r>
            <a:r>
              <a:rPr spc="-10"/>
              <a:t>presentation</a:t>
            </a:r>
            <a:r>
              <a:rPr spc="85"/>
              <a:t> </a:t>
            </a:r>
            <a:r>
              <a:rPr spc="-5"/>
              <a:t>are</a:t>
            </a:r>
            <a:r>
              <a:rPr spc="30"/>
              <a:t> </a:t>
            </a:r>
            <a:r>
              <a:rPr spc="-10"/>
              <a:t>proprietary</a:t>
            </a:r>
            <a:r>
              <a:rPr spc="60"/>
              <a:t> </a:t>
            </a:r>
            <a:r>
              <a:rPr spc="-10"/>
              <a:t>and</a:t>
            </a:r>
            <a:r>
              <a:rPr spc="5"/>
              <a:t> </a:t>
            </a:r>
            <a:r>
              <a:rPr spc="-5"/>
              <a:t>confidential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3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65812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3248565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484228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E50E032-2FA1-294D-A641-48AF169A971C}"/>
              </a:ext>
            </a:extLst>
          </p:cNvPr>
          <p:cNvSpPr/>
          <p:nvPr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C304F49A-9209-9846-B568-034486AB6A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948798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3391678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555975-A20A-8B46-B688-F42166A07799}"/>
              </a:ext>
            </a:extLst>
          </p:cNvPr>
          <p:cNvSpPr/>
          <p:nvPr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D12DC80-E04F-004E-9B00-572E55017B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6352770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1457608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8E5A270-831A-4AE7-9D89-E7D59FB24D1C}"/>
              </a:ext>
            </a:extLst>
          </p:cNvPr>
          <p:cNvSpPr txBox="1">
            <a:spLocks/>
          </p:cNvSpPr>
          <p:nvPr userDrawn="1"/>
        </p:nvSpPr>
        <p:spPr>
          <a:xfrm>
            <a:off x="3116944" y="395978"/>
            <a:ext cx="5396165" cy="372725"/>
          </a:xfrm>
          <a:prstGeom prst="rect">
            <a:avLst/>
          </a:prstGeom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 i="0" kern="1200" spc="200" baseline="0">
                <a:solidFill>
                  <a:schemeClr val="bg1"/>
                </a:solidFill>
                <a:latin typeface="Proxima Nova Semibold" charset="0"/>
                <a:ea typeface="Proxima Nova Semibold" charset="0"/>
                <a:cs typeface="Proxima Nova Semibold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5pPr>
            <a:lvl6pPr marL="342891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6pPr>
            <a:lvl7pPr marL="685783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7pPr>
            <a:lvl8pPr marL="1028674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8pPr>
            <a:lvl9pPr marL="1371566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800" b="0" spc="0">
              <a:solidFill>
                <a:prstClr val="white"/>
              </a:solidFill>
              <a:latin typeface="Calibri"/>
              <a:ea typeface="Proxima Nova" charset="0"/>
              <a:cs typeface="Proxima No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390754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pic>
        <p:nvPicPr>
          <p:cNvPr id="10" name="Picture 2" descr="SirionLabs">
            <a:extLst>
              <a:ext uri="{FF2B5EF4-FFF2-40B4-BE49-F238E27FC236}">
                <a16:creationId xmlns:a16="http://schemas.microsoft.com/office/drawing/2014/main" id="{47A57821-4348-2E4A-BBEB-A831E23774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963" y="322170"/>
            <a:ext cx="1674568" cy="53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661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1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642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 userDrawn="1"/>
        </p:nvSpPr>
        <p:spPr>
          <a:xfrm>
            <a:off x="4439234" y="0"/>
            <a:ext cx="144341" cy="6876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  <p:pic>
        <p:nvPicPr>
          <p:cNvPr id="2050" name="Picture 2" descr="SirionLabs">
            <a:extLst>
              <a:ext uri="{FF2B5EF4-FFF2-40B4-BE49-F238E27FC236}">
                <a16:creationId xmlns:a16="http://schemas.microsoft.com/office/drawing/2014/main" id="{B80A4B8C-C171-8843-8583-3F7B3E708E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3356" y="6041984"/>
            <a:ext cx="1674568" cy="53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7280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3BFFD5-9033-FA49-8693-855BB93A3E0F}"/>
              </a:ext>
            </a:extLst>
          </p:cNvPr>
          <p:cNvSpPr/>
          <p:nvPr userDrawn="1"/>
        </p:nvSpPr>
        <p:spPr>
          <a:xfrm>
            <a:off x="334963" y="368300"/>
            <a:ext cx="1080000" cy="36000"/>
          </a:xfrm>
          <a:prstGeom prst="rect">
            <a:avLst/>
          </a:prstGeom>
          <a:solidFill>
            <a:srgbClr val="00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49992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877219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703161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4" y="2947303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4" y="4169549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27712831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0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11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65AE48D-FCCF-CE44-81CB-98F1331112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E1888CD-C3C7-C84D-BF81-CC7142E5B0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8" y="1602430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8" y="2590318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8" y="3578206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8" y="4566094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00718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0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4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00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7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7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7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3893522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B75FE-65DF-0446-84D2-15DC57B08A5B}"/>
              </a:ext>
            </a:extLst>
          </p:cNvPr>
          <p:cNvSpPr txBox="1"/>
          <p:nvPr userDrawn="1"/>
        </p:nvSpPr>
        <p:spPr>
          <a:xfrm>
            <a:off x="0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6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6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6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6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20471114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6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3" name="TextBox 20">
            <a:extLst>
              <a:ext uri="{FF2B5EF4-FFF2-40B4-BE49-F238E27FC236}">
                <a16:creationId xmlns:a16="http://schemas.microsoft.com/office/drawing/2014/main" id="{89273568-F523-0C4E-AD5F-320F649BEC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C6A11454-6792-5645-B9D6-49220B8982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6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6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6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3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3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3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3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4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2" y="1673621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8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2" y="3060715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2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2" y="4447809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2" y="583490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4688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6" name="TextBox 20">
            <a:extLst>
              <a:ext uri="{FF2B5EF4-FFF2-40B4-BE49-F238E27FC236}">
                <a16:creationId xmlns:a16="http://schemas.microsoft.com/office/drawing/2014/main" id="{EBECF912-B12F-E44C-A4AE-36107936B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80FA36A-56DA-AF4A-8EB3-72CED5FC6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206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 userDrawn="1"/>
        </p:nvSpPr>
        <p:spPr>
          <a:xfrm>
            <a:off x="4439234" y="0"/>
            <a:ext cx="144341" cy="6876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  <p:pic>
        <p:nvPicPr>
          <p:cNvPr id="2050" name="Picture 2" descr="SirionLabs">
            <a:extLst>
              <a:ext uri="{FF2B5EF4-FFF2-40B4-BE49-F238E27FC236}">
                <a16:creationId xmlns:a16="http://schemas.microsoft.com/office/drawing/2014/main" id="{B80A4B8C-C171-8843-8583-3F7B3E708E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3356" y="6041984"/>
            <a:ext cx="1674568" cy="538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7504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CBEB9DD8-7E6F-3146-8A30-DC511D2FB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E90A7E4-BE98-BE4E-91B3-61EF2C09E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5957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8124DF22-EBD4-8347-BFBC-7730F5C00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6C7C0701-5EAB-3547-9C66-7F95FF3D7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7" y="1714939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7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7" y="201852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7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7" y="38231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7" y="4709033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7" y="41267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7" y="4432034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41165304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2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96A52B67-D269-2249-8765-354A6BA0EF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BD11E9E3-469C-AB4F-84C9-E83B8D9E7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0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4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10696104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4091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1D65DA4E-C556-C04E-AFCD-2F3A90CC32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0C2B99-7801-BA42-82F1-5DEE7A0085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674514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C2679F92-8434-9941-89AE-5DFEAD95D4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C5C784-8579-8849-9C4B-C60DD003C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0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0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3307852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20">
            <a:extLst>
              <a:ext uri="{FF2B5EF4-FFF2-40B4-BE49-F238E27FC236}">
                <a16:creationId xmlns:a16="http://schemas.microsoft.com/office/drawing/2014/main" id="{B8FB921C-0E66-DB43-BFBE-80D7EE1916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B6E6160-0DE8-944F-8367-19E6187E9B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5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5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4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4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411701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20">
            <a:extLst>
              <a:ext uri="{FF2B5EF4-FFF2-40B4-BE49-F238E27FC236}">
                <a16:creationId xmlns:a16="http://schemas.microsoft.com/office/drawing/2014/main" id="{F46CE3EE-90A9-814F-A69D-0C0430CB5E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A084DA-03AB-824F-8C37-0F5C562DEB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96591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EA9C3A37-3713-6645-A9F8-5B025F673D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C86E2F4-D022-2549-B454-58FB4848D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1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023657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8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2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Box 20">
            <a:extLst>
              <a:ext uri="{FF2B5EF4-FFF2-40B4-BE49-F238E27FC236}">
                <a16:creationId xmlns:a16="http://schemas.microsoft.com/office/drawing/2014/main" id="{97845DDF-5C51-0043-9B16-0DBB4D91A7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7DC3DEC-6651-3840-8168-91B300ED4D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1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8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233176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3" y="36830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797615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C0A79014-CDE9-4242-BE37-3CCB2FBC40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6D89525-52A0-9A47-85DB-74FF9C5D52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7" y="122874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7" y="5242189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7" y="3899187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7" y="2566561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452169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8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5B0FF8BA-7B13-284C-9E16-E90E79BE3C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1" y="12287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0" y="1531489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1" y="4919683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0" y="5222425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1" y="3076346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0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3" y="122815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3" y="262150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3" y="5424828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3" y="403178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6" y="373427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145769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8" y="1410259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E77C3068-8F8F-8C4C-A901-905266B4E8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ED33FE-5FED-474D-8033-FC71891246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8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59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3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7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71767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7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4" y="5116178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8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D1AAA00-96BC-6C41-87B5-3B5CBF07DE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B2D33C7-BA26-444D-8CBC-D1A405007D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7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0631323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24754926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1" y="0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7224753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5586" y="404664"/>
            <a:ext cx="5326414" cy="720080"/>
          </a:xfrm>
          <a:custGeom>
            <a:avLst/>
            <a:gdLst>
              <a:gd name="connsiteX0" fmla="*/ 0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0 w 5326414"/>
              <a:gd name="connsiteY4" fmla="*/ 0 h 576064"/>
              <a:gd name="connsiteX0" fmla="*/ 202301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202301 w 5326414"/>
              <a:gd name="connsiteY4" fmla="*/ 0 h 576064"/>
              <a:gd name="connsiteX0" fmla="*/ 583849 w 5326414"/>
              <a:gd name="connsiteY0" fmla="*/ 0 h 576064"/>
              <a:gd name="connsiteX1" fmla="*/ 5326414 w 5326414"/>
              <a:gd name="connsiteY1" fmla="*/ 0 h 576064"/>
              <a:gd name="connsiteX2" fmla="*/ 5326414 w 5326414"/>
              <a:gd name="connsiteY2" fmla="*/ 576064 h 576064"/>
              <a:gd name="connsiteX3" fmla="*/ 0 w 5326414"/>
              <a:gd name="connsiteY3" fmla="*/ 576064 h 576064"/>
              <a:gd name="connsiteX4" fmla="*/ 583849 w 5326414"/>
              <a:gd name="connsiteY4" fmla="*/ 0 h 576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26414" h="576064">
                <a:moveTo>
                  <a:pt x="583849" y="0"/>
                </a:moveTo>
                <a:lnTo>
                  <a:pt x="5326414" y="0"/>
                </a:lnTo>
                <a:lnTo>
                  <a:pt x="5326414" y="576064"/>
                </a:lnTo>
                <a:lnTo>
                  <a:pt x="0" y="576064"/>
                </a:lnTo>
                <a:lnTo>
                  <a:pt x="583849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effectLst>
            <a:outerShdw blurRad="127000" sx="102000" sy="102000" algn="c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183600" tIns="91440" rIns="182880" bIns="91440" anchor="ctr" anchorCtr="0">
            <a:noAutofit/>
          </a:bodyPr>
          <a:lstStyle>
            <a:lvl1pPr marL="360000" indent="0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14468340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EF60AB3-F1D0-1340-8412-5632EE30C6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F7C51B3-9A95-0D41-B9B9-59D06AB48303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595F481B-BEBF-4446-BDB8-2EA16455660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04E3D4-E62E-274C-8574-E02F825921B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299D4937-7592-FD43-982C-BF36A4A73B7B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EB09ED-653C-934D-8ED0-6F399C2493F9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Picture Placeholder 24">
            <a:extLst>
              <a:ext uri="{FF2B5EF4-FFF2-40B4-BE49-F238E27FC236}">
                <a16:creationId xmlns:a16="http://schemas.microsoft.com/office/drawing/2014/main" id="{4018761D-2234-3540-B3B1-8CD0EB0FF04E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1E50E032-2FA1-294D-A641-48AF169A971C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C304F49A-9209-9846-B568-034486AB6A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2709" y="1"/>
            <a:ext cx="7591516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1349265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2AA145B-EDEB-8149-BA6F-141BA16ADE23}"/>
              </a:ext>
            </a:extLst>
          </p:cNvPr>
          <p:cNvSpPr txBox="1"/>
          <p:nvPr userDrawn="1"/>
        </p:nvSpPr>
        <p:spPr>
          <a:xfrm>
            <a:off x="0" y="4977172"/>
            <a:ext cx="12192000" cy="1880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noProof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96AAB275-73D9-B24A-B642-6BE3DC53FD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237500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E6C7BF-2032-F04D-B597-6C1416F99B95}"/>
              </a:ext>
            </a:extLst>
          </p:cNvPr>
          <p:cNvSpPr>
            <a:spLocks noGrp="1"/>
          </p:cNvSpPr>
          <p:nvPr>
            <p:ph type="body" idx="33"/>
          </p:nvPr>
        </p:nvSpPr>
        <p:spPr>
          <a:xfrm>
            <a:off x="102565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Picture Placeholder 24">
            <a:extLst>
              <a:ext uri="{FF2B5EF4-FFF2-40B4-BE49-F238E27FC236}">
                <a16:creationId xmlns:a16="http://schemas.microsoft.com/office/drawing/2014/main" id="{55AED977-2841-F541-A76E-B075F4B50BF2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207422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ECEEB5B-4981-4348-A280-9C2DC9CAC55A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476597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4E28DA95-9D93-0F47-9C72-BF55434D793D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81454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B77B25E-C84C-2F44-AD41-B6762BDE3C58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529209" y="6011523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A32B3525-08A8-5342-998C-22757947E667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9577776" y="5518787"/>
            <a:ext cx="540000" cy="54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2478913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1B4B8748-F434-6747-9347-809CDFA7C0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3044644"/>
            <a:ext cx="4564948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1DCFE06-7BA4-FA44-84FE-72B56B388B90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505346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D2C2A9F8-1418-FA41-8C70-D699630498EA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5016500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3B4B16-3D19-494B-AD47-F363970305D5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5505346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D415599-020E-3246-B9C5-9629AFADC592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5016500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18320DC-0131-7C46-85B2-C50BDEF8E7A3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5505346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4">
            <a:extLst>
              <a:ext uri="{FF2B5EF4-FFF2-40B4-BE49-F238E27FC236}">
                <a16:creationId xmlns:a16="http://schemas.microsoft.com/office/drawing/2014/main" id="{3E427E53-51EA-CF41-A029-E5856CDB1A6D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5016500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555975-A20A-8B46-B688-F42166A07799}"/>
              </a:ext>
            </a:extLst>
          </p:cNvPr>
          <p:cNvSpPr/>
          <p:nvPr userDrawn="1"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D12DC80-E04F-004E-9B00-572E55017B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3673229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0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92"/>
            <a:ext cx="4564948" cy="124649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3" y="6059793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/>
        </p:nvSpPr>
        <p:spPr>
          <a:xfrm>
            <a:off x="4439234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465865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2D8E7E8-3CD0-F843-83F7-A46E9EE76D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36"/>
            <a:ext cx="4564948" cy="65659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ank You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A1DBF00-42A1-014D-A97A-17735CD7A47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23809" y="4667248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CDE22E51-5A69-6F40-AA94-62F28FA9D551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34963" y="4604187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759E5A0-F05A-F743-A714-5A39E3CAA110}"/>
              </a:ext>
            </a:extLst>
          </p:cNvPr>
          <p:cNvSpPr>
            <a:spLocks noGrp="1"/>
          </p:cNvSpPr>
          <p:nvPr>
            <p:ph type="body" idx="43"/>
          </p:nvPr>
        </p:nvSpPr>
        <p:spPr>
          <a:xfrm>
            <a:off x="823809" y="5358279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4">
            <a:extLst>
              <a:ext uri="{FF2B5EF4-FFF2-40B4-BE49-F238E27FC236}">
                <a16:creationId xmlns:a16="http://schemas.microsoft.com/office/drawing/2014/main" id="{F258F986-1192-A741-95B3-8B325DC08AF5}"/>
              </a:ext>
            </a:extLst>
          </p:cNvPr>
          <p:cNvSpPr>
            <a:spLocks noGrp="1" noChangeAspect="1"/>
          </p:cNvSpPr>
          <p:nvPr>
            <p:ph type="pic" sz="quarter" idx="44" hasCustomPrompt="1"/>
          </p:nvPr>
        </p:nvSpPr>
        <p:spPr>
          <a:xfrm>
            <a:off x="334963" y="5300224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52C63F-2ED9-1746-838A-3BF7CEF95B34}"/>
              </a:ext>
            </a:extLst>
          </p:cNvPr>
          <p:cNvSpPr>
            <a:spLocks noGrp="1"/>
          </p:cNvSpPr>
          <p:nvPr>
            <p:ph type="body" idx="45"/>
          </p:nvPr>
        </p:nvSpPr>
        <p:spPr>
          <a:xfrm>
            <a:off x="823809" y="6049310"/>
            <a:ext cx="2637134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Picture Placeholder 24">
            <a:extLst>
              <a:ext uri="{FF2B5EF4-FFF2-40B4-BE49-F238E27FC236}">
                <a16:creationId xmlns:a16="http://schemas.microsoft.com/office/drawing/2014/main" id="{FBA55158-B37E-D842-A02F-4C27ED0EF148}"/>
              </a:ext>
            </a:extLst>
          </p:cNvPr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34963" y="5996261"/>
            <a:ext cx="423888" cy="423888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2533458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0">
            <a:extLst>
              <a:ext uri="{FF2B5EF4-FFF2-40B4-BE49-F238E27FC236}">
                <a16:creationId xmlns:a16="http://schemas.microsoft.com/office/drawing/2014/main" id="{16EFB42C-B090-B145-84F1-75C48CAE99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8AFBC6-D30B-6A41-8F40-3310FEAE30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642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8E5A270-831A-4AE7-9D89-E7D59FB24D1C}"/>
              </a:ext>
            </a:extLst>
          </p:cNvPr>
          <p:cNvSpPr txBox="1">
            <a:spLocks/>
          </p:cNvSpPr>
          <p:nvPr userDrawn="1"/>
        </p:nvSpPr>
        <p:spPr>
          <a:xfrm>
            <a:off x="3116944" y="395978"/>
            <a:ext cx="5396165" cy="372725"/>
          </a:xfrm>
          <a:prstGeom prst="rect">
            <a:avLst/>
          </a:prstGeom>
        </p:spPr>
        <p:txBody>
          <a:bodyPr anchor="ctr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 i="0" kern="1200" spc="200" baseline="0">
                <a:solidFill>
                  <a:schemeClr val="bg1"/>
                </a:solidFill>
                <a:latin typeface="Proxima Nova Semibold" charset="0"/>
                <a:ea typeface="Proxima Nova Semibold" charset="0"/>
                <a:cs typeface="Proxima Nova Semibold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5pPr>
            <a:lvl6pPr marL="342891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6pPr>
            <a:lvl7pPr marL="685783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7pPr>
            <a:lvl8pPr marL="1028674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8pPr>
            <a:lvl9pPr marL="1371566" algn="r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Helvetica" charset="0"/>
                <a:ea typeface="ＭＳ Ｐゴシック" charset="0"/>
              </a:defRPr>
            </a:lvl9pPr>
          </a:lstStyle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800" b="0" spc="0">
              <a:solidFill>
                <a:prstClr val="white"/>
              </a:solidFill>
              <a:latin typeface="Calibri"/>
              <a:ea typeface="Proxima Nova" charset="0"/>
              <a:cs typeface="Proxima No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264718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1">
    <p:bg>
      <p:bgPr>
        <a:solidFill>
          <a:schemeClr val="accent5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05"/>
            <a:ext cx="4564948" cy="65665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4" y="368301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71653" y="2"/>
            <a:ext cx="7742572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68039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page-1">
    <p:bg>
      <p:bgPr>
        <a:solidFill>
          <a:schemeClr val="accent5">
            <a:alpha val="9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EA9BD91-3EA7-F645-B44F-E61EC11A8D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2939805"/>
            <a:ext cx="4564948" cy="65665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BD290DB1-3862-8F4C-B5A2-86D1352BF9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619300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31D59AC3-8FC4-064D-A102-2893D76B678C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34524" y="368301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9FB83FC9-1DFF-A844-A923-802AB38B7836}"/>
              </a:ext>
            </a:extLst>
          </p:cNvPr>
          <p:cNvSpPr/>
          <p:nvPr userDrawn="1"/>
        </p:nvSpPr>
        <p:spPr>
          <a:xfrm>
            <a:off x="4472093" y="0"/>
            <a:ext cx="7742572" cy="6873618"/>
          </a:xfrm>
          <a:custGeom>
            <a:avLst/>
            <a:gdLst>
              <a:gd name="connsiteX0" fmla="*/ 0 w 4041687"/>
              <a:gd name="connsiteY0" fmla="*/ 0 h 6858000"/>
              <a:gd name="connsiteX1" fmla="*/ 4041687 w 4041687"/>
              <a:gd name="connsiteY1" fmla="*/ 0 h 6858000"/>
              <a:gd name="connsiteX2" fmla="*/ 4041687 w 4041687"/>
              <a:gd name="connsiteY2" fmla="*/ 6858000 h 6858000"/>
              <a:gd name="connsiteX3" fmla="*/ 0 w 4041687"/>
              <a:gd name="connsiteY3" fmla="*/ 6858000 h 6858000"/>
              <a:gd name="connsiteX4" fmla="*/ 0 w 4041687"/>
              <a:gd name="connsiteY4" fmla="*/ 0 h 6858000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4041687 w 5413287"/>
              <a:gd name="connsiteY2" fmla="*/ 6878782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961909"/>
              <a:gd name="connsiteX1" fmla="*/ 5413287 w 5413287"/>
              <a:gd name="connsiteY1" fmla="*/ 0 h 6961909"/>
              <a:gd name="connsiteX2" fmla="*/ 2711651 w 5413287"/>
              <a:gd name="connsiteY2" fmla="*/ 6961909 h 6961909"/>
              <a:gd name="connsiteX3" fmla="*/ 0 w 5413287"/>
              <a:gd name="connsiteY3" fmla="*/ 6878782 h 6961909"/>
              <a:gd name="connsiteX4" fmla="*/ 0 w 5413287"/>
              <a:gd name="connsiteY4" fmla="*/ 20782 h 6961909"/>
              <a:gd name="connsiteX0" fmla="*/ 0 w 5413287"/>
              <a:gd name="connsiteY0" fmla="*/ 20782 h 6878782"/>
              <a:gd name="connsiteX1" fmla="*/ 5413287 w 5413287"/>
              <a:gd name="connsiteY1" fmla="*/ 0 h 6878782"/>
              <a:gd name="connsiteX2" fmla="*/ 2254451 w 5413287"/>
              <a:gd name="connsiteY2" fmla="*/ 5694218 h 6878782"/>
              <a:gd name="connsiteX3" fmla="*/ 0 w 5413287"/>
              <a:gd name="connsiteY3" fmla="*/ 6878782 h 6878782"/>
              <a:gd name="connsiteX4" fmla="*/ 0 w 5413287"/>
              <a:gd name="connsiteY4" fmla="*/ 20782 h 6878782"/>
              <a:gd name="connsiteX0" fmla="*/ 0 w 5413287"/>
              <a:gd name="connsiteY0" fmla="*/ 20782 h 6899563"/>
              <a:gd name="connsiteX1" fmla="*/ 5413287 w 5413287"/>
              <a:gd name="connsiteY1" fmla="*/ 0 h 6899563"/>
              <a:gd name="connsiteX2" fmla="*/ 2025851 w 5413287"/>
              <a:gd name="connsiteY2" fmla="*/ 6899563 h 6899563"/>
              <a:gd name="connsiteX3" fmla="*/ 0 w 5413287"/>
              <a:gd name="connsiteY3" fmla="*/ 6878782 h 6899563"/>
              <a:gd name="connsiteX4" fmla="*/ 0 w 5413287"/>
              <a:gd name="connsiteY4" fmla="*/ 20782 h 6899563"/>
              <a:gd name="connsiteX0" fmla="*/ 0 w 5247032"/>
              <a:gd name="connsiteY0" fmla="*/ 1 h 6878782"/>
              <a:gd name="connsiteX1" fmla="*/ 5247032 w 5247032"/>
              <a:gd name="connsiteY1" fmla="*/ 0 h 6878782"/>
              <a:gd name="connsiteX2" fmla="*/ 2025851 w 5247032"/>
              <a:gd name="connsiteY2" fmla="*/ 6878782 h 6878782"/>
              <a:gd name="connsiteX3" fmla="*/ 0 w 5247032"/>
              <a:gd name="connsiteY3" fmla="*/ 6858001 h 6878782"/>
              <a:gd name="connsiteX4" fmla="*/ 0 w 5247032"/>
              <a:gd name="connsiteY4" fmla="*/ 1 h 6878782"/>
              <a:gd name="connsiteX0" fmla="*/ 0 w 4498887"/>
              <a:gd name="connsiteY0" fmla="*/ 1 h 6878782"/>
              <a:gd name="connsiteX1" fmla="*/ 4498887 w 4498887"/>
              <a:gd name="connsiteY1" fmla="*/ 0 h 6878782"/>
              <a:gd name="connsiteX2" fmla="*/ 2025851 w 4498887"/>
              <a:gd name="connsiteY2" fmla="*/ 6878782 h 6878782"/>
              <a:gd name="connsiteX3" fmla="*/ 0 w 4498887"/>
              <a:gd name="connsiteY3" fmla="*/ 6858001 h 6878782"/>
              <a:gd name="connsiteX4" fmla="*/ 0 w 4498887"/>
              <a:gd name="connsiteY4" fmla="*/ 1 h 6878782"/>
              <a:gd name="connsiteX0" fmla="*/ 0 w 4318778"/>
              <a:gd name="connsiteY0" fmla="*/ 1 h 6878782"/>
              <a:gd name="connsiteX1" fmla="*/ 4318778 w 4318778"/>
              <a:gd name="connsiteY1" fmla="*/ 0 h 6878782"/>
              <a:gd name="connsiteX2" fmla="*/ 2025851 w 4318778"/>
              <a:gd name="connsiteY2" fmla="*/ 6878782 h 6878782"/>
              <a:gd name="connsiteX3" fmla="*/ 0 w 4318778"/>
              <a:gd name="connsiteY3" fmla="*/ 6858001 h 6878782"/>
              <a:gd name="connsiteX4" fmla="*/ 0 w 4318778"/>
              <a:gd name="connsiteY4" fmla="*/ 1 h 6878782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08812 w 4318778"/>
              <a:gd name="connsiteY2" fmla="*/ 6765192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531326 w 4318778"/>
              <a:gd name="connsiteY2" fmla="*/ 526012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122402 w 4318778"/>
              <a:gd name="connsiteY2" fmla="*/ 5254443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58001"/>
              <a:gd name="connsiteX1" fmla="*/ 4318778 w 4318778"/>
              <a:gd name="connsiteY1" fmla="*/ 0 h 6858001"/>
              <a:gd name="connsiteX2" fmla="*/ 2054248 w 4318778"/>
              <a:gd name="connsiteY2" fmla="*/ 6782229 h 6858001"/>
              <a:gd name="connsiteX3" fmla="*/ 0 w 4318778"/>
              <a:gd name="connsiteY3" fmla="*/ 6858001 h 6858001"/>
              <a:gd name="connsiteX4" fmla="*/ 0 w 4318778"/>
              <a:gd name="connsiteY4" fmla="*/ 1 h 6858001"/>
              <a:gd name="connsiteX0" fmla="*/ 0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0 w 4318778"/>
              <a:gd name="connsiteY4" fmla="*/ 1 h 6861742"/>
              <a:gd name="connsiteX0" fmla="*/ 854242 w 4318778"/>
              <a:gd name="connsiteY0" fmla="*/ 1 h 6861742"/>
              <a:gd name="connsiteX1" fmla="*/ 4318778 w 4318778"/>
              <a:gd name="connsiteY1" fmla="*/ 0 h 6861742"/>
              <a:gd name="connsiteX2" fmla="*/ 2037210 w 4318778"/>
              <a:gd name="connsiteY2" fmla="*/ 6861742 h 6861742"/>
              <a:gd name="connsiteX3" fmla="*/ 0 w 4318778"/>
              <a:gd name="connsiteY3" fmla="*/ 6858001 h 6861742"/>
              <a:gd name="connsiteX4" fmla="*/ 854242 w 4318778"/>
              <a:gd name="connsiteY4" fmla="*/ 1 h 6861742"/>
              <a:gd name="connsiteX0" fmla="*/ 336884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336884 w 3801420"/>
              <a:gd name="connsiteY4" fmla="*/ 1 h 6861742"/>
              <a:gd name="connsiteX0" fmla="*/ 1155032 w 3801420"/>
              <a:gd name="connsiteY0" fmla="*/ 1 h 6861742"/>
              <a:gd name="connsiteX1" fmla="*/ 3801420 w 3801420"/>
              <a:gd name="connsiteY1" fmla="*/ 0 h 6861742"/>
              <a:gd name="connsiteX2" fmla="*/ 1519852 w 3801420"/>
              <a:gd name="connsiteY2" fmla="*/ 6861742 h 6861742"/>
              <a:gd name="connsiteX3" fmla="*/ 0 w 3801420"/>
              <a:gd name="connsiteY3" fmla="*/ 6858001 h 6861742"/>
              <a:gd name="connsiteX4" fmla="*/ 1155032 w 3801420"/>
              <a:gd name="connsiteY4" fmla="*/ 1 h 6861742"/>
              <a:gd name="connsiteX0" fmla="*/ 541422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541422 w 3187810"/>
              <a:gd name="connsiteY4" fmla="*/ 1 h 6861742"/>
              <a:gd name="connsiteX0" fmla="*/ 1022685 w 3187810"/>
              <a:gd name="connsiteY0" fmla="*/ 1 h 6861742"/>
              <a:gd name="connsiteX1" fmla="*/ 3187810 w 3187810"/>
              <a:gd name="connsiteY1" fmla="*/ 0 h 6861742"/>
              <a:gd name="connsiteX2" fmla="*/ 906242 w 3187810"/>
              <a:gd name="connsiteY2" fmla="*/ 6861742 h 6861742"/>
              <a:gd name="connsiteX3" fmla="*/ 0 w 3187810"/>
              <a:gd name="connsiteY3" fmla="*/ 6858001 h 6861742"/>
              <a:gd name="connsiteX4" fmla="*/ 1022685 w 3187810"/>
              <a:gd name="connsiteY4" fmla="*/ 1 h 6861742"/>
              <a:gd name="connsiteX0" fmla="*/ 794085 w 2959210"/>
              <a:gd name="connsiteY0" fmla="*/ 1 h 6861742"/>
              <a:gd name="connsiteX1" fmla="*/ 2959210 w 2959210"/>
              <a:gd name="connsiteY1" fmla="*/ 0 h 6861742"/>
              <a:gd name="connsiteX2" fmla="*/ 677642 w 2959210"/>
              <a:gd name="connsiteY2" fmla="*/ 6861742 h 6861742"/>
              <a:gd name="connsiteX3" fmla="*/ 0 w 2959210"/>
              <a:gd name="connsiteY3" fmla="*/ 6858001 h 6861742"/>
              <a:gd name="connsiteX4" fmla="*/ 794085 w 2959210"/>
              <a:gd name="connsiteY4" fmla="*/ 1 h 6861742"/>
              <a:gd name="connsiteX0" fmla="*/ 116443 w 7587584"/>
              <a:gd name="connsiteY0" fmla="*/ 1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116443 w 7587584"/>
              <a:gd name="connsiteY4" fmla="*/ 1 h 6861742"/>
              <a:gd name="connsiteX0" fmla="*/ 6398489 w 7587584"/>
              <a:gd name="connsiteY0" fmla="*/ 249382 h 6861742"/>
              <a:gd name="connsiteX1" fmla="*/ 2281568 w 7587584"/>
              <a:gd name="connsiteY1" fmla="*/ 0 h 6861742"/>
              <a:gd name="connsiteX2" fmla="*/ 0 w 7587584"/>
              <a:gd name="connsiteY2" fmla="*/ 6861742 h 6861742"/>
              <a:gd name="connsiteX3" fmla="*/ 7587584 w 7587584"/>
              <a:gd name="connsiteY3" fmla="*/ 6858001 h 6861742"/>
              <a:gd name="connsiteX4" fmla="*/ 6398489 w 7587584"/>
              <a:gd name="connsiteY4" fmla="*/ 249382 h 6861742"/>
              <a:gd name="connsiteX0" fmla="*/ 7597897 w 7597897"/>
              <a:gd name="connsiteY0" fmla="*/ 0 h 6861742"/>
              <a:gd name="connsiteX1" fmla="*/ 2281568 w 7597897"/>
              <a:gd name="connsiteY1" fmla="*/ 0 h 6861742"/>
              <a:gd name="connsiteX2" fmla="*/ 0 w 7597897"/>
              <a:gd name="connsiteY2" fmla="*/ 6861742 h 6861742"/>
              <a:gd name="connsiteX3" fmla="*/ 7587584 w 7597897"/>
              <a:gd name="connsiteY3" fmla="*/ 6858001 h 6861742"/>
              <a:gd name="connsiteX4" fmla="*/ 7597897 w 7597897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587584 w 7740401"/>
              <a:gd name="connsiteY3" fmla="*/ 6858001 h 6861742"/>
              <a:gd name="connsiteX4" fmla="*/ 7740401 w 7740401"/>
              <a:gd name="connsiteY4" fmla="*/ 0 h 6861742"/>
              <a:gd name="connsiteX0" fmla="*/ 7740401 w 7740401"/>
              <a:gd name="connsiteY0" fmla="*/ 0 h 6861742"/>
              <a:gd name="connsiteX1" fmla="*/ 2281568 w 7740401"/>
              <a:gd name="connsiteY1" fmla="*/ 0 h 6861742"/>
              <a:gd name="connsiteX2" fmla="*/ 0 w 7740401"/>
              <a:gd name="connsiteY2" fmla="*/ 6861742 h 6861742"/>
              <a:gd name="connsiteX3" fmla="*/ 7730088 w 7740401"/>
              <a:gd name="connsiteY3" fmla="*/ 6858001 h 6861742"/>
              <a:gd name="connsiteX4" fmla="*/ 7740401 w 7740401"/>
              <a:gd name="connsiteY4" fmla="*/ 0 h 6861742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694462 w 7704775"/>
              <a:gd name="connsiteY3" fmla="*/ 6858001 h 6873618"/>
              <a:gd name="connsiteX4" fmla="*/ 7704775 w 7704775"/>
              <a:gd name="connsiteY4" fmla="*/ 0 h 6873618"/>
              <a:gd name="connsiteX0" fmla="*/ 7704775 w 7704775"/>
              <a:gd name="connsiteY0" fmla="*/ 0 h 6873618"/>
              <a:gd name="connsiteX1" fmla="*/ 2245942 w 7704775"/>
              <a:gd name="connsiteY1" fmla="*/ 0 h 6873618"/>
              <a:gd name="connsiteX2" fmla="*/ 0 w 7704775"/>
              <a:gd name="connsiteY2" fmla="*/ 6873618 h 6873618"/>
              <a:gd name="connsiteX3" fmla="*/ 7338202 w 7704775"/>
              <a:gd name="connsiteY3" fmla="*/ 6869876 h 6873618"/>
              <a:gd name="connsiteX4" fmla="*/ 7704775 w 7704775"/>
              <a:gd name="connsiteY4" fmla="*/ 0 h 6873618"/>
              <a:gd name="connsiteX0" fmla="*/ 7704775 w 7704775"/>
              <a:gd name="connsiteY0" fmla="*/ 0 h 6881751"/>
              <a:gd name="connsiteX1" fmla="*/ 2245942 w 7704775"/>
              <a:gd name="connsiteY1" fmla="*/ 0 h 6881751"/>
              <a:gd name="connsiteX2" fmla="*/ 0 w 7704775"/>
              <a:gd name="connsiteY2" fmla="*/ 6873618 h 6881751"/>
              <a:gd name="connsiteX3" fmla="*/ 7694462 w 7704775"/>
              <a:gd name="connsiteY3" fmla="*/ 6881751 h 6881751"/>
              <a:gd name="connsiteX4" fmla="*/ 7704775 w 7704775"/>
              <a:gd name="connsiteY4" fmla="*/ 0 h 6881751"/>
              <a:gd name="connsiteX0" fmla="*/ 7704775 w 7718605"/>
              <a:gd name="connsiteY0" fmla="*/ 0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5 w 7718605"/>
              <a:gd name="connsiteY4" fmla="*/ 0 h 6873618"/>
              <a:gd name="connsiteX0" fmla="*/ 7467269 w 7718246"/>
              <a:gd name="connsiteY0" fmla="*/ 59377 h 6873618"/>
              <a:gd name="connsiteX1" fmla="*/ 2245942 w 7718246"/>
              <a:gd name="connsiteY1" fmla="*/ 0 h 6873618"/>
              <a:gd name="connsiteX2" fmla="*/ 0 w 7718246"/>
              <a:gd name="connsiteY2" fmla="*/ 6873618 h 6873618"/>
              <a:gd name="connsiteX3" fmla="*/ 7718212 w 7718246"/>
              <a:gd name="connsiteY3" fmla="*/ 6869875 h 6873618"/>
              <a:gd name="connsiteX4" fmla="*/ 7467269 w 7718246"/>
              <a:gd name="connsiteY4" fmla="*/ 59377 h 6873618"/>
              <a:gd name="connsiteX0" fmla="*/ 7704776 w 7718605"/>
              <a:gd name="connsiteY0" fmla="*/ 11875 h 6873618"/>
              <a:gd name="connsiteX1" fmla="*/ 2245942 w 7718605"/>
              <a:gd name="connsiteY1" fmla="*/ 0 h 6873618"/>
              <a:gd name="connsiteX2" fmla="*/ 0 w 7718605"/>
              <a:gd name="connsiteY2" fmla="*/ 6873618 h 6873618"/>
              <a:gd name="connsiteX3" fmla="*/ 7718212 w 7718605"/>
              <a:gd name="connsiteY3" fmla="*/ 6869875 h 6873618"/>
              <a:gd name="connsiteX4" fmla="*/ 7704776 w 7718605"/>
              <a:gd name="connsiteY4" fmla="*/ 11875 h 6873618"/>
              <a:gd name="connsiteX0" fmla="*/ 7728526 w 7742355"/>
              <a:gd name="connsiteY0" fmla="*/ 11875 h 6873618"/>
              <a:gd name="connsiteX1" fmla="*/ 2269692 w 7742355"/>
              <a:gd name="connsiteY1" fmla="*/ 0 h 6873618"/>
              <a:gd name="connsiteX2" fmla="*/ 0 w 7742355"/>
              <a:gd name="connsiteY2" fmla="*/ 6873618 h 6873618"/>
              <a:gd name="connsiteX3" fmla="*/ 7741962 w 7742355"/>
              <a:gd name="connsiteY3" fmla="*/ 6869875 h 6873618"/>
              <a:gd name="connsiteX4" fmla="*/ 7728526 w 7742355"/>
              <a:gd name="connsiteY4" fmla="*/ 11875 h 6873618"/>
              <a:gd name="connsiteX0" fmla="*/ 7617207 w 7742028"/>
              <a:gd name="connsiteY0" fmla="*/ 154999 h 6873618"/>
              <a:gd name="connsiteX1" fmla="*/ 2269692 w 7742028"/>
              <a:gd name="connsiteY1" fmla="*/ 0 h 6873618"/>
              <a:gd name="connsiteX2" fmla="*/ 0 w 7742028"/>
              <a:gd name="connsiteY2" fmla="*/ 6873618 h 6873618"/>
              <a:gd name="connsiteX3" fmla="*/ 7741962 w 7742028"/>
              <a:gd name="connsiteY3" fmla="*/ 6869875 h 6873618"/>
              <a:gd name="connsiteX4" fmla="*/ 7617207 w 7742028"/>
              <a:gd name="connsiteY4" fmla="*/ 154999 h 6873618"/>
              <a:gd name="connsiteX0" fmla="*/ 7736477 w 7742572"/>
              <a:gd name="connsiteY0" fmla="*/ 3925 h 6873618"/>
              <a:gd name="connsiteX1" fmla="*/ 2269692 w 7742572"/>
              <a:gd name="connsiteY1" fmla="*/ 0 h 6873618"/>
              <a:gd name="connsiteX2" fmla="*/ 0 w 7742572"/>
              <a:gd name="connsiteY2" fmla="*/ 6873618 h 6873618"/>
              <a:gd name="connsiteX3" fmla="*/ 7741962 w 7742572"/>
              <a:gd name="connsiteY3" fmla="*/ 6869875 h 6873618"/>
              <a:gd name="connsiteX4" fmla="*/ 7736477 w 7742572"/>
              <a:gd name="connsiteY4" fmla="*/ 3925 h 687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42572" h="6873618">
                <a:moveTo>
                  <a:pt x="7736477" y="3925"/>
                </a:moveTo>
                <a:lnTo>
                  <a:pt x="2269692" y="0"/>
                </a:lnTo>
                <a:lnTo>
                  <a:pt x="0" y="6873618"/>
                </a:lnTo>
                <a:lnTo>
                  <a:pt x="7741962" y="6869875"/>
                </a:lnTo>
                <a:cubicBezTo>
                  <a:pt x="7745400" y="4583875"/>
                  <a:pt x="7733039" y="2289925"/>
                  <a:pt x="7736477" y="3925"/>
                </a:cubicBezTo>
                <a:close/>
              </a:path>
            </a:pathLst>
          </a:cu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9213470C-869C-B943-AF75-8075A8B396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71653" y="2"/>
            <a:ext cx="7742572" cy="6873617"/>
          </a:xfrm>
          <a:custGeom>
            <a:avLst/>
            <a:gdLst>
              <a:gd name="connsiteX0" fmla="*/ 0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0 w 7615266"/>
              <a:gd name="connsiteY4" fmla="*/ 0 h 6858000"/>
              <a:gd name="connsiteX0" fmla="*/ 2303813 w 7615266"/>
              <a:gd name="connsiteY0" fmla="*/ 0 h 6858000"/>
              <a:gd name="connsiteX1" fmla="*/ 7615266 w 7615266"/>
              <a:gd name="connsiteY1" fmla="*/ 0 h 6858000"/>
              <a:gd name="connsiteX2" fmla="*/ 7615266 w 7615266"/>
              <a:gd name="connsiteY2" fmla="*/ 6858000 h 6858000"/>
              <a:gd name="connsiteX3" fmla="*/ 0 w 7615266"/>
              <a:gd name="connsiteY3" fmla="*/ 6858000 h 6858000"/>
              <a:gd name="connsiteX4" fmla="*/ 2303813 w 7615266"/>
              <a:gd name="connsiteY4" fmla="*/ 0 h 6858000"/>
              <a:gd name="connsiteX0" fmla="*/ 2244436 w 7555889"/>
              <a:gd name="connsiteY0" fmla="*/ 0 h 6858000"/>
              <a:gd name="connsiteX1" fmla="*/ 7555889 w 7555889"/>
              <a:gd name="connsiteY1" fmla="*/ 0 h 6858000"/>
              <a:gd name="connsiteX2" fmla="*/ 7555889 w 7555889"/>
              <a:gd name="connsiteY2" fmla="*/ 6858000 h 6858000"/>
              <a:gd name="connsiteX3" fmla="*/ 0 w 7555889"/>
              <a:gd name="connsiteY3" fmla="*/ 6858000 h 6858000"/>
              <a:gd name="connsiteX4" fmla="*/ 2244436 w 7555889"/>
              <a:gd name="connsiteY4" fmla="*/ 0 h 6858000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32561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32561 w 7567765"/>
              <a:gd name="connsiteY4" fmla="*/ 0 h 6869876"/>
              <a:gd name="connsiteX0" fmla="*/ 2256312 w 7567765"/>
              <a:gd name="connsiteY0" fmla="*/ 0 h 6869876"/>
              <a:gd name="connsiteX1" fmla="*/ 7567765 w 7567765"/>
              <a:gd name="connsiteY1" fmla="*/ 0 h 6869876"/>
              <a:gd name="connsiteX2" fmla="*/ 7567765 w 7567765"/>
              <a:gd name="connsiteY2" fmla="*/ 6858000 h 6869876"/>
              <a:gd name="connsiteX3" fmla="*/ 0 w 7567765"/>
              <a:gd name="connsiteY3" fmla="*/ 6869876 h 6869876"/>
              <a:gd name="connsiteX4" fmla="*/ 2256312 w 7567765"/>
              <a:gd name="connsiteY4" fmla="*/ 0 h 6869876"/>
              <a:gd name="connsiteX0" fmla="*/ 2280063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80063 w 7591516"/>
              <a:gd name="connsiteY4" fmla="*/ 0 h 6869876"/>
              <a:gd name="connsiteX0" fmla="*/ 2244437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44437 w 7591516"/>
              <a:gd name="connsiteY4" fmla="*/ 0 h 6869876"/>
              <a:gd name="connsiteX0" fmla="*/ 2260340 w 7591516"/>
              <a:gd name="connsiteY0" fmla="*/ 0 h 6869876"/>
              <a:gd name="connsiteX1" fmla="*/ 7591516 w 7591516"/>
              <a:gd name="connsiteY1" fmla="*/ 0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1562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  <a:gd name="connsiteX0" fmla="*/ 2260340 w 7591516"/>
              <a:gd name="connsiteY0" fmla="*/ 0 h 6869876"/>
              <a:gd name="connsiteX1" fmla="*/ 7575614 w 7591516"/>
              <a:gd name="connsiteY1" fmla="*/ 7951 h 6869876"/>
              <a:gd name="connsiteX2" fmla="*/ 7591516 w 7591516"/>
              <a:gd name="connsiteY2" fmla="*/ 6858000 h 6869876"/>
              <a:gd name="connsiteX3" fmla="*/ 0 w 7591516"/>
              <a:gd name="connsiteY3" fmla="*/ 6869876 h 6869876"/>
              <a:gd name="connsiteX4" fmla="*/ 2260340 w 7591516"/>
              <a:gd name="connsiteY4" fmla="*/ 0 h 6869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1516" h="6869876">
                <a:moveTo>
                  <a:pt x="2260340" y="0"/>
                </a:moveTo>
                <a:lnTo>
                  <a:pt x="7575614" y="7951"/>
                </a:lnTo>
                <a:cubicBezTo>
                  <a:pt x="7580915" y="2270097"/>
                  <a:pt x="7586215" y="4595854"/>
                  <a:pt x="7591516" y="6858000"/>
                </a:cubicBezTo>
                <a:lnTo>
                  <a:pt x="0" y="6869876"/>
                </a:lnTo>
                <a:lnTo>
                  <a:pt x="226034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Icon to Insert picture</a:t>
            </a:r>
          </a:p>
        </p:txBody>
      </p:sp>
      <p:pic>
        <p:nvPicPr>
          <p:cNvPr id="5" name="Picture 4" descr="London - Wikipedia">
            <a:extLst>
              <a:ext uri="{FF2B5EF4-FFF2-40B4-BE49-F238E27FC236}">
                <a16:creationId xmlns:a16="http://schemas.microsoft.com/office/drawing/2014/main" id="{E07E9264-BAA0-FD48-A92F-900F1A161F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-334963" y="2260112"/>
            <a:ext cx="12192000" cy="6851904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FAE13C97-DD6E-5A41-A22D-30A0A2BA982D}"/>
              </a:ext>
            </a:extLst>
          </p:cNvPr>
          <p:cNvSpPr/>
          <p:nvPr userDrawn="1"/>
        </p:nvSpPr>
        <p:spPr>
          <a:xfrm>
            <a:off x="0" y="0"/>
            <a:ext cx="5782614" cy="6873618"/>
          </a:xfrm>
          <a:prstGeom prst="parallelogram">
            <a:avLst>
              <a:gd name="adj" fmla="val 3791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62404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232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D64F940-7F24-7241-944D-C4D4D9879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16500" y="2385381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73AC734-2CB9-E146-9BB0-92BC56F0D9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0" y="2749661"/>
            <a:ext cx="4564948" cy="124656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F8B49F7-E260-0C41-B59F-C181F9B50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16500" y="401841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5" name="Picture Placeholder 24">
            <a:extLst>
              <a:ext uri="{FF2B5EF4-FFF2-40B4-BE49-F238E27FC236}">
                <a16:creationId xmlns:a16="http://schemas.microsoft.com/office/drawing/2014/main" id="{523BED06-863D-A144-A32F-1BEA4C6FF04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0273554" y="6059794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D9E3A2-D02C-7643-8DE5-1EA2C9EB7255}"/>
              </a:ext>
            </a:extLst>
          </p:cNvPr>
          <p:cNvSpPr/>
          <p:nvPr userDrawn="1"/>
        </p:nvSpPr>
        <p:spPr>
          <a:xfrm>
            <a:off x="4439235" y="0"/>
            <a:ext cx="144641" cy="68888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defTabSz="91444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6852460-307B-B444-AEEC-EBB5B781BA1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"/>
            <a:ext cx="4439233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073270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6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3BFFD5-9033-FA49-8693-855BB93A3E0F}"/>
              </a:ext>
            </a:extLst>
          </p:cNvPr>
          <p:cNvSpPr/>
          <p:nvPr userDrawn="1"/>
        </p:nvSpPr>
        <p:spPr>
          <a:xfrm>
            <a:off x="334963" y="368300"/>
            <a:ext cx="1080000" cy="36000"/>
          </a:xfrm>
          <a:prstGeom prst="rect">
            <a:avLst/>
          </a:prstGeom>
          <a:solidFill>
            <a:srgbClr val="00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7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447538"/>
            <a:ext cx="8773411" cy="656655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3" y="6058731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44193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5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3" y="3012319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7" y="2353457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849151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1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50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9" y="1602431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9" y="2590319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9" y="3578207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9" y="4566095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712167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1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2F65A982-766F-1849-96DB-41353E8661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5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18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1996ED5-0211-3B4C-AA76-B330A3777D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935" y="2947304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18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Strategy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8CE39940-F1C5-0542-83C3-ACA06D0799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935" y="4169550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90000" anchor="ctr">
            <a:noAutofit/>
          </a:bodyPr>
          <a:lstStyle>
            <a:lvl1pPr marL="360018" indent="0" algn="l">
              <a:buNone/>
              <a:defRPr sz="2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Budget for FY 2020-21</a:t>
            </a:r>
          </a:p>
        </p:txBody>
      </p:sp>
    </p:spTree>
    <p:extLst>
      <p:ext uri="{BB962C8B-B14F-4D97-AF65-F5344CB8AC3E}">
        <p14:creationId xmlns:p14="http://schemas.microsoft.com/office/powerpoint/2010/main" val="3211441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C3BFFD5-9033-FA49-8693-855BB93A3E0F}"/>
              </a:ext>
            </a:extLst>
          </p:cNvPr>
          <p:cNvSpPr/>
          <p:nvPr/>
        </p:nvSpPr>
        <p:spPr>
          <a:xfrm>
            <a:off x="334963" y="368300"/>
            <a:ext cx="1080000" cy="36000"/>
          </a:xfrm>
          <a:prstGeom prst="rect">
            <a:avLst/>
          </a:prstGeom>
          <a:solidFill>
            <a:srgbClr val="007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BDCB493C-1993-7449-A7EA-43B35F495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84601" y="1550016"/>
            <a:ext cx="8407400" cy="530798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white background picture he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015EE33-45CC-B548-B052-8691DF1E2B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1551783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0E38601-57A9-5347-BB00-98E1CA56BB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2" y="447568"/>
            <a:ext cx="8773411" cy="656590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FFDC7677-F315-DF4D-B125-78E047492D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1127032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0" name="Picture Placeholder 24">
            <a:extLst>
              <a:ext uri="{FF2B5EF4-FFF2-40B4-BE49-F238E27FC236}">
                <a16:creationId xmlns:a16="http://schemas.microsoft.com/office/drawing/2014/main" id="{99C88E7C-AC69-6040-BA1D-720ADF0FA11F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4962" y="6058730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035957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408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1 -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B5F1DE6-2893-4B49-8636-16B10C2AE949}"/>
              </a:ext>
            </a:extLst>
          </p:cNvPr>
          <p:cNvSpPr/>
          <p:nvPr userDrawn="1"/>
        </p:nvSpPr>
        <p:spPr>
          <a:xfrm>
            <a:off x="1007012" y="1602431"/>
            <a:ext cx="2284942" cy="3620889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8150"/>
            <a:endParaRPr lang="en-US" sz="151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54C66-CA57-7740-9F2E-9914F79F55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9669" y="1602431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2A4D5A13-EB98-C34D-B663-9CA153E1DF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11332" y="1730987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146E35F-87F7-6A43-8BD7-E0AC48E8B5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29669" y="2590319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84B11F3-488E-334A-B2CE-E4BF6A720D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1332" y="2718875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CC6AE09-BA54-2842-9391-8FA0332C84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9669" y="3578207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7B2E6D7E-1CFE-2842-96DC-6EC0AD4244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11332" y="370676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9747DCC-3908-1146-8CF8-A35128A7E3F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29669" y="4566095"/>
            <a:ext cx="655637" cy="6572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B9BCF160-88FA-6140-8483-E3FD309A2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11332" y="4694651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l">
              <a:buNone/>
              <a:defRPr sz="200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9" name="Text Placeholder 15">
            <a:extLst>
              <a:ext uri="{FF2B5EF4-FFF2-40B4-BE49-F238E27FC236}">
                <a16:creationId xmlns:a16="http://schemas.microsoft.com/office/drawing/2014/main" id="{4872D6DE-F880-EF4A-A062-E9F9A4C35E8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3118985"/>
            <a:ext cx="2908316" cy="646331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4154508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2- Sectional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6807EBA-5BA5-5C41-8057-06950594A48B}"/>
              </a:ext>
            </a:extLst>
          </p:cNvPr>
          <p:cNvSpPr txBox="1"/>
          <p:nvPr userDrawn="1"/>
        </p:nvSpPr>
        <p:spPr>
          <a:xfrm>
            <a:off x="1" y="0"/>
            <a:ext cx="4423059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82880" tIns="3383280" rIns="182880" bIns="91440" rtlCol="0" anchor="t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473E18B-6815-5140-A5D4-16FD07A06D72}"/>
              </a:ext>
            </a:extLst>
          </p:cNvPr>
          <p:cNvSpPr txBox="1">
            <a:spLocks/>
          </p:cNvSpPr>
          <p:nvPr userDrawn="1"/>
        </p:nvSpPr>
        <p:spPr>
          <a:xfrm>
            <a:off x="67107" y="3636558"/>
            <a:ext cx="3214798" cy="49982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Bef>
                <a:spcPts val="0"/>
              </a:spcBef>
              <a:defRPr/>
            </a:pPr>
            <a:endParaRPr lang="en-US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Picture Placeholder 24">
            <a:extLst>
              <a:ext uri="{FF2B5EF4-FFF2-40B4-BE49-F238E27FC236}">
                <a16:creationId xmlns:a16="http://schemas.microsoft.com/office/drawing/2014/main" id="{A9DEC68D-E511-2B40-B573-D7C19ED1157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761529" y="2609232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DF4D17EB-AEC3-4B45-B9ED-4D691D7D0B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935" y="1725057"/>
            <a:ext cx="4589987" cy="1106518"/>
          </a:xfrm>
          <a:custGeom>
            <a:avLst/>
            <a:gdLst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97763 w 4597763"/>
              <a:gd name="connsiteY2" fmla="*/ 1106518 h 1106518"/>
              <a:gd name="connsiteX3" fmla="*/ 0 w 4597763"/>
              <a:gd name="connsiteY3" fmla="*/ 1106518 h 1106518"/>
              <a:gd name="connsiteX4" fmla="*/ 0 w 4597763"/>
              <a:gd name="connsiteY4" fmla="*/ 0 h 1106518"/>
              <a:gd name="connsiteX0" fmla="*/ 0 w 4597763"/>
              <a:gd name="connsiteY0" fmla="*/ 0 h 1106518"/>
              <a:gd name="connsiteX1" fmla="*/ 4597763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97763"/>
              <a:gd name="connsiteY0" fmla="*/ 0 h 1106518"/>
              <a:gd name="connsiteX1" fmla="*/ 4059144 w 4597763"/>
              <a:gd name="connsiteY1" fmla="*/ 0 h 1106518"/>
              <a:gd name="connsiteX2" fmla="*/ 4577461 w 4597763"/>
              <a:gd name="connsiteY2" fmla="*/ 560893 h 1106518"/>
              <a:gd name="connsiteX3" fmla="*/ 4597763 w 4597763"/>
              <a:gd name="connsiteY3" fmla="*/ 1106518 h 1106518"/>
              <a:gd name="connsiteX4" fmla="*/ 0 w 4597763"/>
              <a:gd name="connsiteY4" fmla="*/ 1106518 h 1106518"/>
              <a:gd name="connsiteX5" fmla="*/ 0 w 4597763"/>
              <a:gd name="connsiteY5" fmla="*/ 0 h 1106518"/>
              <a:gd name="connsiteX0" fmla="*/ 0 w 4577461"/>
              <a:gd name="connsiteY0" fmla="*/ 0 h 1106518"/>
              <a:gd name="connsiteX1" fmla="*/ 4059144 w 4577461"/>
              <a:gd name="connsiteY1" fmla="*/ 0 h 1106518"/>
              <a:gd name="connsiteX2" fmla="*/ 4577461 w 4577461"/>
              <a:gd name="connsiteY2" fmla="*/ 560893 h 1106518"/>
              <a:gd name="connsiteX3" fmla="*/ 4052881 w 4577461"/>
              <a:gd name="connsiteY3" fmla="*/ 1106518 h 1106518"/>
              <a:gd name="connsiteX4" fmla="*/ 0 w 4577461"/>
              <a:gd name="connsiteY4" fmla="*/ 1106518 h 1106518"/>
              <a:gd name="connsiteX5" fmla="*/ 0 w 4577461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60893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  <a:gd name="connsiteX0" fmla="*/ 0 w 4339466"/>
              <a:gd name="connsiteY0" fmla="*/ 0 h 1106518"/>
              <a:gd name="connsiteX1" fmla="*/ 4059144 w 4339466"/>
              <a:gd name="connsiteY1" fmla="*/ 0 h 1106518"/>
              <a:gd name="connsiteX2" fmla="*/ 4339466 w 4339466"/>
              <a:gd name="connsiteY2" fmla="*/ 567156 h 1106518"/>
              <a:gd name="connsiteX3" fmla="*/ 4052881 w 4339466"/>
              <a:gd name="connsiteY3" fmla="*/ 1106518 h 1106518"/>
              <a:gd name="connsiteX4" fmla="*/ 0 w 4339466"/>
              <a:gd name="connsiteY4" fmla="*/ 1106518 h 1106518"/>
              <a:gd name="connsiteX5" fmla="*/ 0 w 4339466"/>
              <a:gd name="connsiteY5" fmla="*/ 0 h 1106518"/>
              <a:gd name="connsiteX0" fmla="*/ 0 w 4589987"/>
              <a:gd name="connsiteY0" fmla="*/ 0 h 1106518"/>
              <a:gd name="connsiteX1" fmla="*/ 4059144 w 4589987"/>
              <a:gd name="connsiteY1" fmla="*/ 0 h 1106518"/>
              <a:gd name="connsiteX2" fmla="*/ 4589987 w 4589987"/>
              <a:gd name="connsiteY2" fmla="*/ 554630 h 1106518"/>
              <a:gd name="connsiteX3" fmla="*/ 4052881 w 4589987"/>
              <a:gd name="connsiteY3" fmla="*/ 1106518 h 1106518"/>
              <a:gd name="connsiteX4" fmla="*/ 0 w 4589987"/>
              <a:gd name="connsiteY4" fmla="*/ 1106518 h 1106518"/>
              <a:gd name="connsiteX5" fmla="*/ 0 w 4589987"/>
              <a:gd name="connsiteY5" fmla="*/ 0 h 110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9987" h="1106518">
                <a:moveTo>
                  <a:pt x="0" y="0"/>
                </a:moveTo>
                <a:lnTo>
                  <a:pt x="4059144" y="0"/>
                </a:lnTo>
                <a:lnTo>
                  <a:pt x="4589987" y="554630"/>
                </a:lnTo>
                <a:lnTo>
                  <a:pt x="4052881" y="1106518"/>
                </a:lnTo>
                <a:lnTo>
                  <a:pt x="0" y="110651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90000" anchor="ctr">
            <a:noAutofit/>
          </a:bodyPr>
          <a:lstStyle>
            <a:lvl1pPr marL="360018" indent="0" algn="l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ompany Update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9146E266-6CA9-794D-BA3D-337AF53882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37878" y="3228945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Analyst Updat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6B5C2DDE-E0B8-014E-8C5C-C99EBC71A8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37878" y="3798539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Leadership Hir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6E938AE-4304-E749-A4E6-F9F15484D5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37878" y="4368257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Financia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3EE2ED2B-21E9-134D-9B88-FC94D8B8E1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1925" y="3533982"/>
            <a:ext cx="3459208" cy="523220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9411188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50B75FE-65DF-0446-84D2-15DC57B08A5B}"/>
              </a:ext>
            </a:extLst>
          </p:cNvPr>
          <p:cNvSpPr txBox="1"/>
          <p:nvPr userDrawn="1"/>
        </p:nvSpPr>
        <p:spPr>
          <a:xfrm>
            <a:off x="1" y="0"/>
            <a:ext cx="6090715" cy="68580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90000">
                <a:schemeClr val="accent2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sz="1800" noProof="0"/>
          </a:p>
        </p:txBody>
      </p:sp>
      <p:sp>
        <p:nvSpPr>
          <p:cNvPr id="8" name="Picture Placeholder 24">
            <a:extLst>
              <a:ext uri="{FF2B5EF4-FFF2-40B4-BE49-F238E27FC236}">
                <a16:creationId xmlns:a16="http://schemas.microsoft.com/office/drawing/2014/main" id="{A8285604-1716-E742-BD6D-D2BB471FAE0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595357" y="2979000"/>
            <a:ext cx="900000" cy="900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5E0FCB4-E737-6A47-A011-0447A378AF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6107" y="2302514"/>
            <a:ext cx="3669309" cy="52322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8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Introduction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705FCCB-77F1-F144-8034-5B8C37D521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16107" y="2995342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D03F320-E00C-1947-AAEE-63E2D44FA2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16107" y="3564936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4325021-1546-9048-9EB8-E35FB60755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6107" y="4134654"/>
            <a:ext cx="366930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342917" indent="-342917" algn="l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opic 3</a:t>
            </a:r>
          </a:p>
        </p:txBody>
      </p:sp>
    </p:spTree>
    <p:extLst>
      <p:ext uri="{BB962C8B-B14F-4D97-AF65-F5344CB8AC3E}">
        <p14:creationId xmlns:p14="http://schemas.microsoft.com/office/powerpoint/2010/main" val="19795610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tende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4">
            <a:extLst>
              <a:ext uri="{FF2B5EF4-FFF2-40B4-BE49-F238E27FC236}">
                <a16:creationId xmlns:a16="http://schemas.microsoft.com/office/drawing/2014/main" id="{D3BF570A-6DB4-4C45-80CB-0055220D8EA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7998" y="121652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12B48480-31B0-C04E-A5CE-0E7E2C9DF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997" y="167362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5D4F29C-8729-C34F-9CC0-CD3EBD4BE186}"/>
              </a:ext>
            </a:extLst>
          </p:cNvPr>
          <p:cNvCxnSpPr/>
          <p:nvPr userDrawn="1"/>
        </p:nvCxnSpPr>
        <p:spPr>
          <a:xfrm>
            <a:off x="320675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6328A930-8C5F-DB4B-88E4-5B8FE42E10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1147903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75" name="Picture Placeholder 24">
            <a:extLst>
              <a:ext uri="{FF2B5EF4-FFF2-40B4-BE49-F238E27FC236}">
                <a16:creationId xmlns:a16="http://schemas.microsoft.com/office/drawing/2014/main" id="{17A09D14-7BEA-0C46-9CC4-B238EBE9C049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77998" y="2603619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6" name="Text Placeholder 15">
            <a:extLst>
              <a:ext uri="{FF2B5EF4-FFF2-40B4-BE49-F238E27FC236}">
                <a16:creationId xmlns:a16="http://schemas.microsoft.com/office/drawing/2014/main" id="{1DBC0B3B-84CB-084A-B30F-510610CBF4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7" y="3060716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B366FD4-75A9-B64A-8AC1-18E8CD4D8FC0}"/>
              </a:ext>
            </a:extLst>
          </p:cNvPr>
          <p:cNvCxnSpPr>
            <a:cxnSpLocks/>
          </p:cNvCxnSpPr>
          <p:nvPr userDrawn="1"/>
        </p:nvCxnSpPr>
        <p:spPr>
          <a:xfrm>
            <a:off x="320675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Picture Placeholder 24">
            <a:extLst>
              <a:ext uri="{FF2B5EF4-FFF2-40B4-BE49-F238E27FC236}">
                <a16:creationId xmlns:a16="http://schemas.microsoft.com/office/drawing/2014/main" id="{3955582A-A9DD-DA4F-A964-F152AF7C7A93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377998" y="3990713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79" name="Text Placeholder 15">
            <a:extLst>
              <a:ext uri="{FF2B5EF4-FFF2-40B4-BE49-F238E27FC236}">
                <a16:creationId xmlns:a16="http://schemas.microsoft.com/office/drawing/2014/main" id="{E977ABD4-B45A-3542-82FC-E6278B731BF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7" y="4447810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29E45D5-9B09-EF44-AB20-00B099906BA5}"/>
              </a:ext>
            </a:extLst>
          </p:cNvPr>
          <p:cNvCxnSpPr>
            <a:cxnSpLocks/>
          </p:cNvCxnSpPr>
          <p:nvPr userDrawn="1"/>
        </p:nvCxnSpPr>
        <p:spPr>
          <a:xfrm>
            <a:off x="320675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Picture Placeholder 24">
            <a:extLst>
              <a:ext uri="{FF2B5EF4-FFF2-40B4-BE49-F238E27FC236}">
                <a16:creationId xmlns:a16="http://schemas.microsoft.com/office/drawing/2014/main" id="{97B40076-F193-5C4E-A70A-9D7E6B1DE41D}"/>
              </a:ext>
            </a:extLst>
          </p:cNvPr>
          <p:cNvSpPr>
            <a:spLocks noGrp="1" noChangeAspect="1"/>
          </p:cNvSpPr>
          <p:nvPr>
            <p:ph type="pic" sz="quarter" idx="43" hasCustomPrompt="1"/>
          </p:nvPr>
        </p:nvSpPr>
        <p:spPr>
          <a:xfrm>
            <a:off x="377998" y="5377806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82" name="Text Placeholder 15">
            <a:extLst>
              <a:ext uri="{FF2B5EF4-FFF2-40B4-BE49-F238E27FC236}">
                <a16:creationId xmlns:a16="http://schemas.microsoft.com/office/drawing/2014/main" id="{6ECD883C-A465-784F-A2A6-164CD534C6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7" y="5834903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14CED5-8140-2241-90A9-ECE4EA362A1F}"/>
              </a:ext>
            </a:extLst>
          </p:cNvPr>
          <p:cNvCxnSpPr>
            <a:cxnSpLocks/>
          </p:cNvCxnSpPr>
          <p:nvPr userDrawn="1"/>
        </p:nvCxnSpPr>
        <p:spPr>
          <a:xfrm>
            <a:off x="320675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Picture Placeholder 24">
            <a:extLst>
              <a:ext uri="{FF2B5EF4-FFF2-40B4-BE49-F238E27FC236}">
                <a16:creationId xmlns:a16="http://schemas.microsoft.com/office/drawing/2014/main" id="{9288ED23-D654-3940-8A65-2DB0F068589E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8569255" y="121652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09" name="Text Placeholder 15">
            <a:extLst>
              <a:ext uri="{FF2B5EF4-FFF2-40B4-BE49-F238E27FC236}">
                <a16:creationId xmlns:a16="http://schemas.microsoft.com/office/drawing/2014/main" id="{3A57D56D-3240-9E41-B9D0-25ADF4C811E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69254" y="167362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F424432-E81B-1345-B5B9-086A75EEEEE0}"/>
              </a:ext>
            </a:extLst>
          </p:cNvPr>
          <p:cNvCxnSpPr/>
          <p:nvPr userDrawn="1"/>
        </p:nvCxnSpPr>
        <p:spPr>
          <a:xfrm>
            <a:off x="8511932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icture Placeholder 24">
            <a:extLst>
              <a:ext uri="{FF2B5EF4-FFF2-40B4-BE49-F238E27FC236}">
                <a16:creationId xmlns:a16="http://schemas.microsoft.com/office/drawing/2014/main" id="{28A39A8E-3366-9147-B634-92724C34C317}"/>
              </a:ext>
            </a:extLst>
          </p:cNvPr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8569255" y="2603619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2" name="Text Placeholder 15">
            <a:extLst>
              <a:ext uri="{FF2B5EF4-FFF2-40B4-BE49-F238E27FC236}">
                <a16:creationId xmlns:a16="http://schemas.microsoft.com/office/drawing/2014/main" id="{4969B1D7-8872-0E41-86DF-48D43EBF980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569254" y="3060716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59231E45-8553-2640-B47A-330461FE6DB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Picture Placeholder 24">
            <a:extLst>
              <a:ext uri="{FF2B5EF4-FFF2-40B4-BE49-F238E27FC236}">
                <a16:creationId xmlns:a16="http://schemas.microsoft.com/office/drawing/2014/main" id="{88C10455-30BD-B543-9A33-281A1CF9B68F}"/>
              </a:ext>
            </a:extLst>
          </p:cNvPr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8569255" y="3990713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5" name="Text Placeholder 15">
            <a:extLst>
              <a:ext uri="{FF2B5EF4-FFF2-40B4-BE49-F238E27FC236}">
                <a16:creationId xmlns:a16="http://schemas.microsoft.com/office/drawing/2014/main" id="{B8E24B17-D529-484D-9597-B2988779661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569254" y="4447810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58CAE97-10CB-D34D-A12B-5529F5803E67}"/>
              </a:ext>
            </a:extLst>
          </p:cNvPr>
          <p:cNvCxnSpPr>
            <a:cxnSpLocks/>
          </p:cNvCxnSpPr>
          <p:nvPr userDrawn="1"/>
        </p:nvCxnSpPr>
        <p:spPr>
          <a:xfrm>
            <a:off x="8511932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Picture Placeholder 24">
            <a:extLst>
              <a:ext uri="{FF2B5EF4-FFF2-40B4-BE49-F238E27FC236}">
                <a16:creationId xmlns:a16="http://schemas.microsoft.com/office/drawing/2014/main" id="{098B5482-08B1-6E44-905B-8345C026CB59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8569255" y="5377806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18" name="Text Placeholder 15">
            <a:extLst>
              <a:ext uri="{FF2B5EF4-FFF2-40B4-BE49-F238E27FC236}">
                <a16:creationId xmlns:a16="http://schemas.microsoft.com/office/drawing/2014/main" id="{73EC2BBE-2D4A-8E44-8C36-5EAB59FAE7E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9254" y="5834903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09E6C765-4335-9645-9424-B30707F081AE}"/>
              </a:ext>
            </a:extLst>
          </p:cNvPr>
          <p:cNvCxnSpPr>
            <a:cxnSpLocks/>
          </p:cNvCxnSpPr>
          <p:nvPr userDrawn="1"/>
        </p:nvCxnSpPr>
        <p:spPr>
          <a:xfrm>
            <a:off x="8511932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Picture Placeholder 24">
            <a:extLst>
              <a:ext uri="{FF2B5EF4-FFF2-40B4-BE49-F238E27FC236}">
                <a16:creationId xmlns:a16="http://schemas.microsoft.com/office/drawing/2014/main" id="{25E13BD6-BD09-D944-B117-FEE509D93C8E}"/>
              </a:ext>
            </a:extLst>
          </p:cNvPr>
          <p:cNvSpPr>
            <a:spLocks noGrp="1" noChangeAspect="1"/>
          </p:cNvSpPr>
          <p:nvPr>
            <p:ph type="pic" sz="quarter" idx="53" hasCustomPrompt="1"/>
          </p:nvPr>
        </p:nvSpPr>
        <p:spPr>
          <a:xfrm>
            <a:off x="4533144" y="1216525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1" name="Text Placeholder 15">
            <a:extLst>
              <a:ext uri="{FF2B5EF4-FFF2-40B4-BE49-F238E27FC236}">
                <a16:creationId xmlns:a16="http://schemas.microsoft.com/office/drawing/2014/main" id="{30CBA910-806E-E84D-918F-A5C8E8F2EFC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533143" y="1673622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5128BFC-D99D-B74D-AC64-A383695A5F4B}"/>
              </a:ext>
            </a:extLst>
          </p:cNvPr>
          <p:cNvCxnSpPr/>
          <p:nvPr userDrawn="1"/>
        </p:nvCxnSpPr>
        <p:spPr>
          <a:xfrm>
            <a:off x="4475821" y="1205645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Picture Placeholder 24">
            <a:extLst>
              <a:ext uri="{FF2B5EF4-FFF2-40B4-BE49-F238E27FC236}">
                <a16:creationId xmlns:a16="http://schemas.microsoft.com/office/drawing/2014/main" id="{9280EE5C-1538-A744-9CE0-E1A36E1729B8}"/>
              </a:ext>
            </a:extLst>
          </p:cNvPr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4533144" y="2603619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4" name="Text Placeholder 15">
            <a:extLst>
              <a:ext uri="{FF2B5EF4-FFF2-40B4-BE49-F238E27FC236}">
                <a16:creationId xmlns:a16="http://schemas.microsoft.com/office/drawing/2014/main" id="{0A6BF5BA-8A00-D444-8076-5B91680A26D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533143" y="3060716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FC43E30-6143-E745-8223-36A7AAAB3FA8}"/>
              </a:ext>
            </a:extLst>
          </p:cNvPr>
          <p:cNvCxnSpPr>
            <a:cxnSpLocks/>
          </p:cNvCxnSpPr>
          <p:nvPr userDrawn="1"/>
        </p:nvCxnSpPr>
        <p:spPr>
          <a:xfrm>
            <a:off x="4475821" y="2592739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Picture Placeholder 24">
            <a:extLst>
              <a:ext uri="{FF2B5EF4-FFF2-40B4-BE49-F238E27FC236}">
                <a16:creationId xmlns:a16="http://schemas.microsoft.com/office/drawing/2014/main" id="{11C63B0B-E93A-804F-988B-81811F52A13F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4533144" y="3990713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27" name="Text Placeholder 15">
            <a:extLst>
              <a:ext uri="{FF2B5EF4-FFF2-40B4-BE49-F238E27FC236}">
                <a16:creationId xmlns:a16="http://schemas.microsoft.com/office/drawing/2014/main" id="{BC2E77A4-CDE0-6544-866A-2FF7A5024F8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533143" y="4447810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30F862A4-DB71-0A4C-9791-B1BFE2F4A314}"/>
              </a:ext>
            </a:extLst>
          </p:cNvPr>
          <p:cNvCxnSpPr>
            <a:cxnSpLocks/>
          </p:cNvCxnSpPr>
          <p:nvPr userDrawn="1"/>
        </p:nvCxnSpPr>
        <p:spPr>
          <a:xfrm>
            <a:off x="4475821" y="3979833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Picture Placeholder 24">
            <a:extLst>
              <a:ext uri="{FF2B5EF4-FFF2-40B4-BE49-F238E27FC236}">
                <a16:creationId xmlns:a16="http://schemas.microsoft.com/office/drawing/2014/main" id="{3C6B0765-5ED6-D346-B4D8-6F28433DCA42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4533144" y="5377806"/>
            <a:ext cx="1562856" cy="4313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Font typeface="+mj-lt"/>
              <a:buNone/>
              <a:defRPr sz="1200"/>
            </a:lvl1pPr>
          </a:lstStyle>
          <a:p>
            <a:r>
              <a:rPr lang="en-US"/>
              <a:t>Company logo</a:t>
            </a:r>
          </a:p>
        </p:txBody>
      </p:sp>
      <p:sp>
        <p:nvSpPr>
          <p:cNvPr id="130" name="Text Placeholder 15">
            <a:extLst>
              <a:ext uri="{FF2B5EF4-FFF2-40B4-BE49-F238E27FC236}">
                <a16:creationId xmlns:a16="http://schemas.microsoft.com/office/drawing/2014/main" id="{147996B5-A4D8-8C45-9CC6-A738551B54F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533143" y="5834903"/>
            <a:ext cx="324474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Invitees and designation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8CCD75-247A-5344-9353-2F6F22E952D2}"/>
              </a:ext>
            </a:extLst>
          </p:cNvPr>
          <p:cNvCxnSpPr>
            <a:cxnSpLocks/>
          </p:cNvCxnSpPr>
          <p:nvPr userDrawn="1"/>
        </p:nvCxnSpPr>
        <p:spPr>
          <a:xfrm>
            <a:off x="4475821" y="5366926"/>
            <a:ext cx="0" cy="792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056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ched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icture Placeholder 24">
            <a:extLst>
              <a:ext uri="{FF2B5EF4-FFF2-40B4-BE49-F238E27FC236}">
                <a16:creationId xmlns:a16="http://schemas.microsoft.com/office/drawing/2014/main" id="{A10ED4D6-F580-BF4E-96F6-9885D0ED9C4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2192000" cy="10029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Insert Banner Image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09B0B298-8A18-6F47-8F3E-4AC9EACF86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59679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A4DB728F-72DF-4441-857E-EF6356A04EE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305046"/>
            <a:ext cx="5647524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3014DF3-2928-504B-A76E-B1264A25C16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1" y="1305046"/>
            <a:ext cx="5647525" cy="4978806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1644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C399621-E9A6-754A-AC2B-956B9273F1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613B41C3-376A-E241-ACEC-1B781F527A3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77668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14667414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5AFC2C2D-CEF5-3442-A693-F67A9B25AC1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1A1A7ABD-A16B-3049-8F30-D081E96813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8732" y="17149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2D72CB9-6A82-A14D-95D6-82E93F67F5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2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4232A4B-B8C5-6E44-A0AB-96282420C4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88732" y="20185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7BA2E5D8-A8A1-0545-B2F3-D569C8D466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88732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6" name="Text Placeholder 15">
            <a:extLst>
              <a:ext uri="{FF2B5EF4-FFF2-40B4-BE49-F238E27FC236}">
                <a16:creationId xmlns:a16="http://schemas.microsoft.com/office/drawing/2014/main" id="{35A3158F-4660-964F-A8D8-00488CA530D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616131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2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7F0732AB-92AC-ED4D-9BD4-9BFD0BD66891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84C6C2E8-80FD-5D4E-8CDC-148075A7AE8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088732" y="382314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3DC3A961-6EE2-7A46-94B0-DDED37CEAF2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088732" y="4709034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E67ACA0A-1C9E-A744-A28A-73F38FC7F6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088732" y="4126722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B7CDAB24-78D5-F249-891F-6172E538B78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088732" y="4432035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0" name="Picture Placeholder 24">
            <a:extLst>
              <a:ext uri="{FF2B5EF4-FFF2-40B4-BE49-F238E27FC236}">
                <a16:creationId xmlns:a16="http://schemas.microsoft.com/office/drawing/2014/main" id="{9A253A92-94C3-8D4B-9226-3E54C1AC8C7F}"/>
              </a:ext>
            </a:extLst>
          </p:cNvPr>
          <p:cNvSpPr>
            <a:spLocks noGrp="1" noChangeAspect="1"/>
          </p:cNvSpPr>
          <p:nvPr>
            <p:ph type="pic" sz="quarter" idx="73" hasCustomPrompt="1"/>
          </p:nvPr>
        </p:nvSpPr>
        <p:spPr>
          <a:xfrm>
            <a:off x="6356730" y="171562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DC665DDF-55D9-604C-A1EC-5537D8F9F69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124788" y="1714940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D6FBD5E7-B959-D842-90E8-6AC073F4F13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124788" y="2600832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CF7005FE-B3AE-7244-8596-92262704FEF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8124788" y="201852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8B05422-B9D3-A845-9FAA-F8585AEE343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4788" y="2323833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  <p:sp>
        <p:nvSpPr>
          <p:cNvPr id="39" name="Picture Placeholder 24">
            <a:extLst>
              <a:ext uri="{FF2B5EF4-FFF2-40B4-BE49-F238E27FC236}">
                <a16:creationId xmlns:a16="http://schemas.microsoft.com/office/drawing/2014/main" id="{1F36EA5C-F353-394F-8D17-194DB572F22A}"/>
              </a:ext>
            </a:extLst>
          </p:cNvPr>
          <p:cNvSpPr>
            <a:spLocks noGrp="1" noChangeAspect="1"/>
          </p:cNvSpPr>
          <p:nvPr>
            <p:ph type="pic" sz="quarter" idx="78" hasCustomPrompt="1"/>
          </p:nvPr>
        </p:nvSpPr>
        <p:spPr>
          <a:xfrm>
            <a:off x="6356730" y="3823823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18879736-25C3-9045-96E1-8915CB9F771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124788" y="3823141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8BDAB8F-5069-3D4D-A899-ED2C9D6670AB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4788" y="4709034"/>
            <a:ext cx="3746538" cy="7347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Prior Experience</a:t>
            </a:r>
          </a:p>
        </p:txBody>
      </p:sp>
      <p:sp>
        <p:nvSpPr>
          <p:cNvPr id="42" name="Text Placeholder 15">
            <a:extLst>
              <a:ext uri="{FF2B5EF4-FFF2-40B4-BE49-F238E27FC236}">
                <a16:creationId xmlns:a16="http://schemas.microsoft.com/office/drawing/2014/main" id="{9FEC1961-44D1-F746-B299-368DEDAC3EF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124788" y="4126722"/>
            <a:ext cx="3746538" cy="338554"/>
          </a:xfrm>
          <a:prstGeom prst="rect">
            <a:avLst/>
          </a:prstGeom>
        </p:spPr>
        <p:txBody>
          <a:bodyPr lIns="90000" anchor="ctr">
            <a:spAutoFit/>
          </a:bodyPr>
          <a:lstStyle>
            <a:lvl1pPr marL="0" indent="0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0183E505-D894-2C4F-9FD6-7728F90F4DA6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124788" y="4432035"/>
            <a:ext cx="3746538" cy="276999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>
              <a:buNone/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ate of joining</a:t>
            </a:r>
          </a:p>
        </p:txBody>
      </p:sp>
    </p:spTree>
    <p:extLst>
      <p:ext uri="{BB962C8B-B14F-4D97-AF65-F5344CB8AC3E}">
        <p14:creationId xmlns:p14="http://schemas.microsoft.com/office/powerpoint/2010/main" val="31436952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keholder Hierarc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4">
            <a:extLst>
              <a:ext uri="{FF2B5EF4-FFF2-40B4-BE49-F238E27FC236}">
                <a16:creationId xmlns:a16="http://schemas.microsoft.com/office/drawing/2014/main" id="{899DA620-BDF4-2F42-8154-24BE2BA3BFA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093331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09D5BD23-D731-5C44-BC22-9DA27AE629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88733" y="1093331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7B88CE85-856A-FE42-9FB3-442A5F6786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88733" y="3801642"/>
            <a:ext cx="9782593" cy="16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1BA4A42B-1680-6B41-AD71-67256ADC0CB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636563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marR="0" indent="0" algn="l" defTabSz="12192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35" name="Picture Placeholder 24">
            <a:extLst>
              <a:ext uri="{FF2B5EF4-FFF2-40B4-BE49-F238E27FC236}">
                <a16:creationId xmlns:a16="http://schemas.microsoft.com/office/drawing/2014/main" id="{DB699E5B-09D4-0240-B65B-A59BBEED6AE5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3801642"/>
            <a:ext cx="1620000" cy="16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Profile pic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32D0B11F-08CD-7740-A8F8-3262E2EBDDB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0675" y="2765111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C657F7E-EC79-D142-B754-0B8F1E4D00D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0675" y="3068692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521ED1A8-D362-754F-A40D-A13F551DF7E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20675" y="5465845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Name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B71E19C-207C-F140-BE04-C4A2C76BA5B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0675" y="5769426"/>
            <a:ext cx="1620000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ctr">
              <a:buNone/>
              <a:defRPr sz="16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ignation</a:t>
            </a:r>
          </a:p>
        </p:txBody>
      </p:sp>
    </p:spTree>
    <p:extLst>
      <p:ext uri="{BB962C8B-B14F-4D97-AF65-F5344CB8AC3E}">
        <p14:creationId xmlns:p14="http://schemas.microsoft.com/office/powerpoint/2010/main" val="2679633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erarchy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0675" y="967579"/>
            <a:ext cx="11520000" cy="540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2A182BA9-8908-9742-A96E-8AFE4BA3E7D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498654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27066049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87B8B8-A175-C647-99AA-C161B72F08B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27135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ED79CC-C652-A045-ACC1-7C86254048E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11550633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9376EB-7CF0-BA44-AA17-FC7AF643B5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1155063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12176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pag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CF300B73-1615-C841-8556-657A51408B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077" y="4111404"/>
            <a:ext cx="1343844" cy="338554"/>
          </a:xfrm>
          <a:prstGeom prst="rect">
            <a:avLst/>
          </a:prstGeom>
        </p:spPr>
        <p:txBody>
          <a:bodyPr anchor="ctr">
            <a:spAutoFit/>
          </a:bodyPr>
          <a:lstStyle>
            <a:lvl1pPr marL="0" indent="0" algn="ctr"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nter Date</a:t>
            </a:r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22C75A96-8D42-414B-B202-6D4CABBB91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3525" y="3686653"/>
            <a:ext cx="4564948" cy="400110"/>
          </a:xfrm>
          <a:prstGeom prst="rect">
            <a:avLst/>
          </a:prstGeom>
        </p:spPr>
        <p:txBody>
          <a:bodyPr lIns="90000">
            <a:sp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nter sub heading her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B2E6762-B4D7-CE41-9172-6C20A533A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70332" y="3012318"/>
            <a:ext cx="7251337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Edit Master title style</a:t>
            </a:r>
          </a:p>
        </p:txBody>
      </p:sp>
      <p:sp>
        <p:nvSpPr>
          <p:cNvPr id="7" name="Picture Placeholder 24">
            <a:extLst>
              <a:ext uri="{FF2B5EF4-FFF2-40B4-BE49-F238E27FC236}">
                <a16:creationId xmlns:a16="http://schemas.microsoft.com/office/drawing/2014/main" id="{6F343DC7-87B9-8F4C-88BB-A013B3B01732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5304256" y="2353456"/>
            <a:ext cx="1583485" cy="429907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96607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8D3EFCCF-5778-6842-9C47-ADBB907C3B3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5647524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5332BCB1-72B1-E447-A533-526BF62B2F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5647524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56A925FA-1578-8341-BA72-D57E73B886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6223801" y="1437868"/>
            <a:ext cx="5647525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C0953FE-DC8F-784E-B072-D50CE802701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3801" y="967579"/>
            <a:ext cx="5647525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DB945F9-B3AF-1F40-9D6B-7B8AF997672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5331316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38563569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A26F876-EBC2-864B-9C2D-DA5734B12EA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320676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717B5F0D-DA85-DE41-92BE-D75D9883940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676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B586B0AB-57A4-9F4E-B28D-53D7C5EB0D9E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7582115" y="1437868"/>
            <a:ext cx="4289211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83660-9570-4445-B39C-3CA905F305F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82115" y="967579"/>
            <a:ext cx="428921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4EC9B4F1-EC46-4744-98FC-B353CD684EC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436249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</p:spTree>
    <p:extLst>
      <p:ext uri="{BB962C8B-B14F-4D97-AF65-F5344CB8AC3E}">
        <p14:creationId xmlns:p14="http://schemas.microsoft.com/office/powerpoint/2010/main" val="4285613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C7B1C700-4231-0549-99DF-B893F75907D4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2" y="1437868"/>
            <a:ext cx="6980229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FB416A6-A676-6F40-8283-E7159CEA98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2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3133EC2F-BA02-5845-B146-86BA268BAAB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881610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9FA8EE7-E2CD-5C48-BCBA-AFA0A3A1E09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731BE4ED-4D2E-2144-ADC0-A729C852CED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161092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E8DEFFF-2411-4946-BAD9-A540C583596D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903902" y="1437868"/>
            <a:ext cx="6980229" cy="3406848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1428452-03EC-984F-9BA2-1E9A03087F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2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3CC586BC-4F6A-A44D-89A0-AA5FB0AB904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106465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2331314-D1BD-C649-ABF6-126DE053500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20676" y="1437868"/>
            <a:ext cx="4327626" cy="4978806"/>
          </a:xfrm>
          <a:prstGeom prst="rect">
            <a:avLst/>
          </a:prstGeom>
          <a:noFill/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D0E98B75-4C94-5645-A765-2964CC2A4BB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6" y="967579"/>
            <a:ext cx="4327626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F34BD0EB-A188-AC4E-AD93-02203ED5C9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3900" y="5111776"/>
            <a:ext cx="6980229" cy="13048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714488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89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8BDE869-1686-3D4C-9DC0-4F5D49D92E76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07870" y="966789"/>
            <a:ext cx="4340432" cy="5449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pictur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6DFE03F-E389-9C44-9CA9-57E731318380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7335664" y="836712"/>
            <a:ext cx="6289386" cy="40011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tx1">
                    <a:lumMod val="50000"/>
                  </a:schemeClr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57F4E5B-39CF-8142-97D1-B94A81184C18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7335664" y="1236823"/>
            <a:ext cx="6289386" cy="5309747"/>
          </a:xfrm>
          <a:prstGeom prst="rect">
            <a:avLst/>
          </a:prstGeom>
        </p:spPr>
        <p:txBody>
          <a:bodyPr wrap="square" lIns="90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tx1">
                    <a:lumMod val="50000"/>
                  </a:schemeClr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BCAC3729-3A9C-EF48-9FB0-5BFAC1CDC2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3902" y="967579"/>
            <a:ext cx="6980229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1D53242-ECF1-AD49-B05A-0D2DFFE5CE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88595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32FEE61B-4C68-1F49-9BF5-F3DA244B5AD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03900" y="1431169"/>
            <a:ext cx="6980229" cy="4985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190407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content 2/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4">
            <a:extLst>
              <a:ext uri="{FF2B5EF4-FFF2-40B4-BE49-F238E27FC236}">
                <a16:creationId xmlns:a16="http://schemas.microsoft.com/office/drawing/2014/main" id="{6249F662-FD80-9546-BBC1-DEDC8DECEF6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02871242-2C27-D34D-8440-D8C6905731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8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C21AC93F-FCE0-A24A-88CD-C88CB6F23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D4DD49B9-75FE-A14E-91A6-EC336024FA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641768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4" name="Picture Placeholder 24">
            <a:extLst>
              <a:ext uri="{FF2B5EF4-FFF2-40B4-BE49-F238E27FC236}">
                <a16:creationId xmlns:a16="http://schemas.microsoft.com/office/drawing/2014/main" id="{50A30B69-A6FA-DC49-8DE5-5978FF5937A5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FDF89803-ED34-5349-AF3D-3D0939EA4A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5242190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584B88A5-9B7B-C845-8AC1-483CFCCC2F3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0" name="Picture Placeholder 24">
            <a:extLst>
              <a:ext uri="{FF2B5EF4-FFF2-40B4-BE49-F238E27FC236}">
                <a16:creationId xmlns:a16="http://schemas.microsoft.com/office/drawing/2014/main" id="{A274A410-9B2F-D744-BD6F-A284D5610FB5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320675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F2F800AB-E8D3-F043-84F9-311906C21F3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8242" y="3899188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779BEA3F-2087-874F-A43E-1A1C43C34AA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68241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6" name="Picture Placeholder 24">
            <a:extLst>
              <a:ext uri="{FF2B5EF4-FFF2-40B4-BE49-F238E27FC236}">
                <a16:creationId xmlns:a16="http://schemas.microsoft.com/office/drawing/2014/main" id="{853D155C-64AE-1A47-BFB1-693923FE4136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20675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48D33A5-2F53-B54A-8565-207920CBC7B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68242" y="2566562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03458E58-11C2-B44D-BCCA-9363BF483BF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68241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2" name="Picture Placeholder 24">
            <a:extLst>
              <a:ext uri="{FF2B5EF4-FFF2-40B4-BE49-F238E27FC236}">
                <a16:creationId xmlns:a16="http://schemas.microsoft.com/office/drawing/2014/main" id="{1315A1AC-6CA7-0544-B87B-E994282BBF1C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6339840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1B3ED950-3D35-D545-A65D-D95A63A1342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87408" y="1228748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3D7F6270-44C5-FF49-B852-54F80E4B857F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87406" y="153310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5" name="Picture Placeholder 24">
            <a:extLst>
              <a:ext uri="{FF2B5EF4-FFF2-40B4-BE49-F238E27FC236}">
                <a16:creationId xmlns:a16="http://schemas.microsoft.com/office/drawing/2014/main" id="{4EF39549-1FF8-2142-A641-45E51017AA74}"/>
              </a:ext>
            </a:extLst>
          </p:cNvPr>
          <p:cNvSpPr>
            <a:spLocks noGrp="1" noChangeAspect="1"/>
          </p:cNvSpPr>
          <p:nvPr>
            <p:ph type="pic" sz="quarter" idx="60" hasCustomPrompt="1"/>
          </p:nvPr>
        </p:nvSpPr>
        <p:spPr>
          <a:xfrm>
            <a:off x="6339840" y="524248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F9211BAE-C957-4346-AAFA-627D5AA2640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87408" y="5242190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7" name="Text Placeholder 15">
            <a:extLst>
              <a:ext uri="{FF2B5EF4-FFF2-40B4-BE49-F238E27FC236}">
                <a16:creationId xmlns:a16="http://schemas.microsoft.com/office/drawing/2014/main" id="{B69D9A18-CBD8-D043-A44A-A20E66470ED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987406" y="5546545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8" name="Picture Placeholder 24">
            <a:extLst>
              <a:ext uri="{FF2B5EF4-FFF2-40B4-BE49-F238E27FC236}">
                <a16:creationId xmlns:a16="http://schemas.microsoft.com/office/drawing/2014/main" id="{6F70D42F-FEFB-6247-A466-5A3886123ACA}"/>
              </a:ext>
            </a:extLst>
          </p:cNvPr>
          <p:cNvSpPr>
            <a:spLocks noGrp="1" noChangeAspect="1"/>
          </p:cNvSpPr>
          <p:nvPr>
            <p:ph type="pic" sz="quarter" idx="63" hasCustomPrompt="1"/>
          </p:nvPr>
        </p:nvSpPr>
        <p:spPr>
          <a:xfrm>
            <a:off x="6339840" y="389948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9" name="Text Placeholder 15">
            <a:extLst>
              <a:ext uri="{FF2B5EF4-FFF2-40B4-BE49-F238E27FC236}">
                <a16:creationId xmlns:a16="http://schemas.microsoft.com/office/drawing/2014/main" id="{F65C245D-B967-5F46-89A8-172EC173095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987408" y="3899188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D075229B-FB72-D742-8CBC-A506EA6313B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987406" y="4203543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71" name="Picture Placeholder 24">
            <a:extLst>
              <a:ext uri="{FF2B5EF4-FFF2-40B4-BE49-F238E27FC236}">
                <a16:creationId xmlns:a16="http://schemas.microsoft.com/office/drawing/2014/main" id="{B592A8D7-8107-D74E-A13F-783484C829B5}"/>
              </a:ext>
            </a:extLst>
          </p:cNvPr>
          <p:cNvSpPr>
            <a:spLocks noGrp="1" noChangeAspect="1"/>
          </p:cNvSpPr>
          <p:nvPr>
            <p:ph type="pic" sz="quarter" idx="66" hasCustomPrompt="1"/>
          </p:nvPr>
        </p:nvSpPr>
        <p:spPr>
          <a:xfrm>
            <a:off x="6339840" y="256685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874D7CF0-44FA-4743-A852-6A3172F8CDE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987408" y="2566562"/>
            <a:ext cx="4883918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3" name="Text Placeholder 15">
            <a:extLst>
              <a:ext uri="{FF2B5EF4-FFF2-40B4-BE49-F238E27FC236}">
                <a16:creationId xmlns:a16="http://schemas.microsoft.com/office/drawing/2014/main" id="{48EE8136-0092-DF41-BFB2-CFA90283D16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987406" y="2870917"/>
            <a:ext cx="488391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191554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ighlights with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03E50161-E5ED-7D41-AC3F-DE7398F30323}"/>
              </a:ext>
            </a:extLst>
          </p:cNvPr>
          <p:cNvSpPr/>
          <p:nvPr userDrawn="1"/>
        </p:nvSpPr>
        <p:spPr>
          <a:xfrm>
            <a:off x="9295869" y="0"/>
            <a:ext cx="2896131" cy="685800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51080C48-D8F0-314F-958A-D23C9CA122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88161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42" name="Picture Placeholder 24">
            <a:extLst>
              <a:ext uri="{FF2B5EF4-FFF2-40B4-BE49-F238E27FC236}">
                <a16:creationId xmlns:a16="http://schemas.microsoft.com/office/drawing/2014/main" id="{229E7DC5-764F-2544-A39B-D963D9A9C5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20675" y="1229041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3DC0F5F-0C11-F94F-B9AD-DBF31DDD2B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8242" y="1228748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4" name="Text Placeholder 15">
            <a:extLst>
              <a:ext uri="{FF2B5EF4-FFF2-40B4-BE49-F238E27FC236}">
                <a16:creationId xmlns:a16="http://schemas.microsoft.com/office/drawing/2014/main" id="{CFF3EE50-DE7C-714B-AEE4-36B253869C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241" y="1531490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5" name="Picture Placeholder 24">
            <a:extLst>
              <a:ext uri="{FF2B5EF4-FFF2-40B4-BE49-F238E27FC236}">
                <a16:creationId xmlns:a16="http://schemas.microsoft.com/office/drawing/2014/main" id="{A157C923-B9E1-7D45-B4B3-A368977142FB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20675" y="4919977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7D273616-FBD8-DA49-99A3-692153C6310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242" y="4919684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3B268EC-19C9-E64B-9E9C-3B47C15AA87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8241" y="5222426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48" name="Picture Placeholder 24">
            <a:extLst>
              <a:ext uri="{FF2B5EF4-FFF2-40B4-BE49-F238E27FC236}">
                <a16:creationId xmlns:a16="http://schemas.microsoft.com/office/drawing/2014/main" id="{54FA8072-153C-DD43-8A5E-E67358A999AB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320675" y="3076640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C3C9371D-DBDA-E742-843A-FC4D63D483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8242" y="3076347"/>
            <a:ext cx="7936069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705D2649-03CD-674C-A45E-8413BC46CF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68241" y="3379088"/>
            <a:ext cx="7936069" cy="103935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1" name="Picture Placeholder 24">
            <a:extLst>
              <a:ext uri="{FF2B5EF4-FFF2-40B4-BE49-F238E27FC236}">
                <a16:creationId xmlns:a16="http://schemas.microsoft.com/office/drawing/2014/main" id="{14CBD35F-E183-9E4F-9349-EB06B7B3F03A}"/>
              </a:ext>
            </a:extLst>
          </p:cNvPr>
          <p:cNvSpPr>
            <a:spLocks noGrp="1" noChangeAspect="1"/>
          </p:cNvSpPr>
          <p:nvPr>
            <p:ph type="pic" sz="quarter" idx="45" hasCustomPrompt="1"/>
          </p:nvPr>
        </p:nvSpPr>
        <p:spPr>
          <a:xfrm>
            <a:off x="9520946" y="1228453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C6BC141D-E5CD-224E-8E33-6EAA022D19B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168514" y="1228160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423180CA-9CED-594C-AF23-6999CC6A19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168512" y="1530902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4" name="Picture Placeholder 24">
            <a:extLst>
              <a:ext uri="{FF2B5EF4-FFF2-40B4-BE49-F238E27FC236}">
                <a16:creationId xmlns:a16="http://schemas.microsoft.com/office/drawing/2014/main" id="{5DECD8CA-5E63-A54C-A86A-ACF36CAFA1E4}"/>
              </a:ext>
            </a:extLst>
          </p:cNvPr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520946" y="2621795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EF5819D9-79AA-A547-B888-9653DD08844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168514" y="2621502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06286DB9-28B0-E441-808B-7EA9784DF9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168512" y="2924244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57" name="Picture Placeholder 24">
            <a:extLst>
              <a:ext uri="{FF2B5EF4-FFF2-40B4-BE49-F238E27FC236}">
                <a16:creationId xmlns:a16="http://schemas.microsoft.com/office/drawing/2014/main" id="{7311930D-6097-934E-A37B-AABE67584F06}"/>
              </a:ext>
            </a:extLst>
          </p:cNvPr>
          <p:cNvSpPr>
            <a:spLocks noGrp="1" noChangeAspect="1"/>
          </p:cNvSpPr>
          <p:nvPr>
            <p:ph type="pic" sz="quarter" idx="51" hasCustomPrompt="1"/>
          </p:nvPr>
        </p:nvSpPr>
        <p:spPr>
          <a:xfrm>
            <a:off x="9520946" y="5425122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FAB8BF0A-DA75-C34F-95C1-F8E624F2D81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68514" y="5424829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20E5C669-8ADE-B547-B227-09E2A41C63F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168512" y="5727571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0" name="Picture Placeholder 24">
            <a:extLst>
              <a:ext uri="{FF2B5EF4-FFF2-40B4-BE49-F238E27FC236}">
                <a16:creationId xmlns:a16="http://schemas.microsoft.com/office/drawing/2014/main" id="{82AC262D-2CFD-F54D-A3B4-7F84D61A99DA}"/>
              </a:ext>
            </a:extLst>
          </p:cNvPr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9520946" y="4032074"/>
            <a:ext cx="540000" cy="5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/>
              <a:t>Icon</a:t>
            </a:r>
          </a:p>
        </p:txBody>
      </p:sp>
      <p:sp>
        <p:nvSpPr>
          <p:cNvPr id="61" name="Text Placeholder 15">
            <a:extLst>
              <a:ext uri="{FF2B5EF4-FFF2-40B4-BE49-F238E27FC236}">
                <a16:creationId xmlns:a16="http://schemas.microsoft.com/office/drawing/2014/main" id="{0688C4CD-B633-9D4D-BAA6-7FADA70E3CA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168514" y="4031781"/>
            <a:ext cx="1702814" cy="33855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433DC4A6-5F91-144F-97A6-209A9D9E916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168512" y="4334523"/>
            <a:ext cx="1702814" cy="540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Description</a:t>
            </a:r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C8F75E5F-14A5-AF4F-A86D-6967E57E321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520947" y="373428"/>
            <a:ext cx="2350379" cy="338554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ighlights</a:t>
            </a:r>
          </a:p>
        </p:txBody>
      </p:sp>
    </p:spTree>
    <p:extLst>
      <p:ext uri="{BB962C8B-B14F-4D97-AF65-F5344CB8AC3E}">
        <p14:creationId xmlns:p14="http://schemas.microsoft.com/office/powerpoint/2010/main" val="2998519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s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8C1EBF3-264B-3440-8217-A3934635C7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7910" y="967579"/>
            <a:ext cx="2441448" cy="1368000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2FAE598-4846-B84A-9B52-932E2FC21A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910" y="2340126"/>
            <a:ext cx="2441448" cy="136800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7FD75196-CD8E-BD4B-84A6-1DF37A0352F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910" y="3713010"/>
            <a:ext cx="2441448" cy="1368000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8FE45365-9C91-CA4C-A342-577E52789B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7910" y="5078645"/>
            <a:ext cx="2441448" cy="1368000"/>
          </a:xfrm>
          <a:prstGeom prst="rect">
            <a:avLst/>
          </a:prstGeom>
          <a:solidFill>
            <a:schemeClr val="bg2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06D6BD2-2F37-6D48-8B22-BC9FB013EA68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9389" y="1410260"/>
            <a:ext cx="4219513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43446FE-A0B7-D040-9C57-52E49FC4EDB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5" y="276998"/>
            <a:ext cx="5016523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A88B3F3-4A11-1A4D-B8CA-0AA54562AC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49389" y="967579"/>
            <a:ext cx="4219513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8FCC940A-2BF4-3D4B-A3C3-C76F82FF457E}"/>
              </a:ext>
            </a:extLst>
          </p:cNvPr>
          <p:cNvSpPr>
            <a:spLocks noGrp="1"/>
          </p:cNvSpPr>
          <p:nvPr>
            <p:ph type="body" idx="39"/>
          </p:nvPr>
        </p:nvSpPr>
        <p:spPr>
          <a:xfrm>
            <a:off x="7534490" y="1410260"/>
            <a:ext cx="4319600" cy="3299585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7C569707-79B9-1E48-AE2C-E1AC156596C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34490" y="967579"/>
            <a:ext cx="4319600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5C7BC7-07C1-E540-A51C-8A3733C019F1}"/>
              </a:ext>
            </a:extLst>
          </p:cNvPr>
          <p:cNvSpPr>
            <a:spLocks noGrp="1"/>
          </p:cNvSpPr>
          <p:nvPr>
            <p:ph type="body" idx="41"/>
          </p:nvPr>
        </p:nvSpPr>
        <p:spPr>
          <a:xfrm>
            <a:off x="3049388" y="5408124"/>
            <a:ext cx="8804702" cy="103852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609616" indent="0">
              <a:buNone/>
              <a:defRPr sz="2667" b="1"/>
            </a:lvl2pPr>
            <a:lvl3pPr marL="1219231" indent="0">
              <a:buNone/>
              <a:defRPr sz="2400" b="1"/>
            </a:lvl3pPr>
            <a:lvl4pPr marL="1828845" indent="0">
              <a:buNone/>
              <a:defRPr sz="2133" b="1"/>
            </a:lvl4pPr>
            <a:lvl5pPr marL="2438461" indent="0">
              <a:buNone/>
              <a:defRPr sz="2133" b="1"/>
            </a:lvl5pPr>
            <a:lvl6pPr marL="3048076" indent="0">
              <a:buNone/>
              <a:defRPr sz="2133" b="1"/>
            </a:lvl6pPr>
            <a:lvl7pPr marL="3657692" indent="0">
              <a:buNone/>
              <a:defRPr sz="2133" b="1"/>
            </a:lvl7pPr>
            <a:lvl8pPr marL="4267307" indent="0">
              <a:buNone/>
              <a:defRPr sz="2133" b="1"/>
            </a:lvl8pPr>
            <a:lvl9pPr marL="4876922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526198C9-DB93-9D47-A0A6-1F0B431457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049388" y="4965442"/>
            <a:ext cx="8804701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86697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A57C694-BF28-B04B-B1A3-0138075178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675" y="1623288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4ADC66C-183F-2640-BA72-B65F1D235E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553" y="1623288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13EFE15-463E-1D46-934E-9286D80350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67847" y="1623288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482689F5-313D-E14C-AC43-882D8E1AA3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229725" y="1623288"/>
            <a:ext cx="2641600" cy="340743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CE5BDAC-1F97-3C49-83C0-7268E15523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0675" y="5116179"/>
            <a:ext cx="2641601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404" indent="-152404">
              <a:buFont typeface="Arial" panose="020B0604020202020204" pitchFamily="34" charset="0"/>
              <a:buChar char="•"/>
              <a:defRPr sz="1400"/>
            </a:lvl2pPr>
            <a:lvl3pPr marL="304807" indent="-152404">
              <a:defRPr sz="1400"/>
            </a:lvl3pPr>
            <a:lvl4pPr marL="533414" indent="-228605">
              <a:defRPr sz="1400"/>
            </a:lvl4pPr>
            <a:lvl5pPr marL="762019" indent="-228605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9DF4842-22C7-7649-8E15-929A4CFEE41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82553" y="5116179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404" indent="-152404">
              <a:buFont typeface="Arial" panose="020B0604020202020204" pitchFamily="34" charset="0"/>
              <a:buChar char="•"/>
              <a:defRPr sz="1400"/>
            </a:lvl2pPr>
            <a:lvl3pPr marL="304807" indent="-152404">
              <a:defRPr sz="1400"/>
            </a:lvl3pPr>
            <a:lvl4pPr marL="533414" indent="-228605">
              <a:defRPr sz="1400"/>
            </a:lvl4pPr>
            <a:lvl5pPr marL="762019" indent="-228605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234246-869C-0543-AE2C-CE03ACD97A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7847" y="5116179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404" indent="-152404">
              <a:buFont typeface="Arial" panose="020B0604020202020204" pitchFamily="34" charset="0"/>
              <a:buChar char="•"/>
              <a:defRPr sz="1400"/>
            </a:lvl2pPr>
            <a:lvl3pPr marL="304807" indent="-152404">
              <a:defRPr sz="1400"/>
            </a:lvl3pPr>
            <a:lvl4pPr marL="533414" indent="-228605">
              <a:defRPr sz="1400"/>
            </a:lvl4pPr>
            <a:lvl5pPr marL="762019" indent="-228605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ED1AE03-57BE-A345-B6EA-3C5263413CC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29414" y="5116179"/>
            <a:ext cx="2641600" cy="12978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152404" indent="-152404">
              <a:buFont typeface="Arial" panose="020B0604020202020204" pitchFamily="34" charset="0"/>
              <a:buChar char="•"/>
              <a:defRPr sz="1400"/>
            </a:lvl2pPr>
            <a:lvl3pPr marL="304807" indent="-152404">
              <a:defRPr sz="1400"/>
            </a:lvl3pPr>
            <a:lvl4pPr marL="533414" indent="-228605">
              <a:defRPr sz="1400"/>
            </a:lvl4pPr>
            <a:lvl5pPr marL="762019" indent="-228605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B52BB29E-CA8A-0740-B717-D0EC3885366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61144" y="276998"/>
            <a:ext cx="4836642" cy="461665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6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Title | Subtitle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E8FD91A5-A54F-1E49-B14C-5D8E659B26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0675" y="967579"/>
            <a:ext cx="11554948" cy="400110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6549639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Screenshot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4526AC9-C0BE-4F4B-BCAB-C5E4D8A8B0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3502" y="0"/>
            <a:ext cx="1217849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A9E2D59-3D96-AD46-B3C5-A9BE37653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0922" y="6281936"/>
            <a:ext cx="4470158" cy="576064"/>
          </a:xfrm>
          <a:prstGeom prst="rect">
            <a:avLst/>
          </a:prstGeom>
          <a:solidFill>
            <a:schemeClr val="accent6">
              <a:alpha val="80000"/>
            </a:schemeClr>
          </a:solidFill>
        </p:spPr>
        <p:txBody>
          <a:bodyPr lIns="183600" tIns="91440" rIns="182880" bIns="91440" anchor="ctr" anchorCtr="0">
            <a:noAutofit/>
          </a:bodyPr>
          <a:lstStyle>
            <a:lvl1pPr marL="0" indent="0" algn="ctr">
              <a:buNone/>
              <a:defRPr sz="24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17" indent="-171459">
              <a:defRPr sz="1400">
                <a:solidFill>
                  <a:srgbClr val="FFFFFF"/>
                </a:solidFill>
              </a:defRPr>
            </a:lvl3pPr>
            <a:lvl4pPr marL="514376" indent="-171459">
              <a:defRPr sz="1400">
                <a:solidFill>
                  <a:srgbClr val="FFFFFF"/>
                </a:solidFill>
              </a:defRPr>
            </a:lvl4pPr>
            <a:lvl5pPr marL="742987" indent="-228611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Title for Screenshot</a:t>
            </a:r>
          </a:p>
        </p:txBody>
      </p:sp>
    </p:spTree>
    <p:extLst>
      <p:ext uri="{BB962C8B-B14F-4D97-AF65-F5344CB8AC3E}">
        <p14:creationId xmlns:p14="http://schemas.microsoft.com/office/powerpoint/2010/main" val="37583498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26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26.xml"/><Relationship Id="rId21" Type="http://schemas.openxmlformats.org/officeDocument/2006/relationships/slideLayout" Target="../slideLayouts/slideLayout144.xml"/><Relationship Id="rId34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5" Type="http://schemas.openxmlformats.org/officeDocument/2006/relationships/slideLayout" Target="../slideLayouts/slideLayout148.xml"/><Relationship Id="rId33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29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24" Type="http://schemas.openxmlformats.org/officeDocument/2006/relationships/slideLayout" Target="../slideLayouts/slideLayout147.xml"/><Relationship Id="rId32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23" Type="http://schemas.openxmlformats.org/officeDocument/2006/relationships/slideLayout" Target="../slideLayouts/slideLayout146.xml"/><Relationship Id="rId28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31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slideLayout" Target="../slideLayouts/slideLayout145.xml"/><Relationship Id="rId27" Type="http://schemas.openxmlformats.org/officeDocument/2006/relationships/slideLayout" Target="../slideLayouts/slideLayout150.xml"/><Relationship Id="rId30" Type="http://schemas.openxmlformats.org/officeDocument/2006/relationships/slideLayout" Target="../slideLayouts/slideLayout153.xml"/><Relationship Id="rId35" Type="http://schemas.openxmlformats.org/officeDocument/2006/relationships/theme" Target="../theme/theme11.xml"/><Relationship Id="rId8" Type="http://schemas.openxmlformats.org/officeDocument/2006/relationships/slideLayout" Target="../slideLayouts/slideLayout131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58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179.xml"/><Relationship Id="rId34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33" Type="http://schemas.openxmlformats.org/officeDocument/2006/relationships/slideLayout" Target="../slideLayouts/slideLayout191.xml"/><Relationship Id="rId38" Type="http://schemas.openxmlformats.org/officeDocument/2006/relationships/theme" Target="../theme/theme13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32" Type="http://schemas.openxmlformats.org/officeDocument/2006/relationships/slideLayout" Target="../slideLayouts/slideLayout190.xml"/><Relationship Id="rId37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36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31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slideLayout" Target="../slideLayouts/slideLayout188.xml"/><Relationship Id="rId35" Type="http://schemas.openxmlformats.org/officeDocument/2006/relationships/slideLayout" Target="../slideLayouts/slideLayout193.xml"/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8.xml"/><Relationship Id="rId26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7.xml"/><Relationship Id="rId25" Type="http://schemas.openxmlformats.org/officeDocument/2006/relationships/slideLayout" Target="../slideLayouts/slideLayout235.xml"/><Relationship Id="rId33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0" Type="http://schemas.openxmlformats.org/officeDocument/2006/relationships/slideLayout" Target="../slideLayouts/slideLayout230.xml"/><Relationship Id="rId29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24" Type="http://schemas.openxmlformats.org/officeDocument/2006/relationships/slideLayout" Target="../slideLayouts/slideLayout234.xml"/><Relationship Id="rId32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23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8.xml"/><Relationship Id="rId10" Type="http://schemas.openxmlformats.org/officeDocument/2006/relationships/slideLayout" Target="../slideLayouts/slideLayout220.xml"/><Relationship Id="rId19" Type="http://schemas.openxmlformats.org/officeDocument/2006/relationships/slideLayout" Target="../slideLayouts/slideLayout229.xml"/><Relationship Id="rId31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Relationship Id="rId2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7.xml"/><Relationship Id="rId30" Type="http://schemas.openxmlformats.org/officeDocument/2006/relationships/slideLayout" Target="../slideLayouts/slideLayout240.xml"/><Relationship Id="rId35" Type="http://schemas.openxmlformats.org/officeDocument/2006/relationships/theme" Target="../theme/theme16.xml"/><Relationship Id="rId8" Type="http://schemas.openxmlformats.org/officeDocument/2006/relationships/slideLayout" Target="../slideLayouts/slideLayout218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slideLayout" Target="../slideLayouts/slideLayout270.xml"/><Relationship Id="rId3" Type="http://schemas.openxmlformats.org/officeDocument/2006/relationships/slideLayout" Target="../slideLayouts/slideLayout247.xml"/><Relationship Id="rId21" Type="http://schemas.openxmlformats.org/officeDocument/2006/relationships/slideLayout" Target="../slideLayouts/slideLayout265.xml"/><Relationship Id="rId34" Type="http://schemas.openxmlformats.org/officeDocument/2006/relationships/theme" Target="../theme/theme17.xml"/><Relationship Id="rId7" Type="http://schemas.openxmlformats.org/officeDocument/2006/relationships/slideLayout" Target="../slideLayouts/slideLayout251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0" Type="http://schemas.openxmlformats.org/officeDocument/2006/relationships/slideLayout" Target="../slideLayouts/slideLayout264.xml"/><Relationship Id="rId29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24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49.xml"/><Relationship Id="rId15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67.xml"/><Relationship Id="rId28" Type="http://schemas.openxmlformats.org/officeDocument/2006/relationships/slideLayout" Target="../slideLayouts/slideLayout272.xml"/><Relationship Id="rId10" Type="http://schemas.openxmlformats.org/officeDocument/2006/relationships/slideLayout" Target="../slideLayouts/slideLayout254.xml"/><Relationship Id="rId19" Type="http://schemas.openxmlformats.org/officeDocument/2006/relationships/slideLayout" Target="../slideLayouts/slideLayout263.xml"/><Relationship Id="rId31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66.xml"/><Relationship Id="rId27" Type="http://schemas.openxmlformats.org/officeDocument/2006/relationships/slideLayout" Target="../slideLayouts/slideLayout271.xml"/><Relationship Id="rId30" Type="http://schemas.openxmlformats.org/officeDocument/2006/relationships/slideLayout" Target="../slideLayouts/slideLayout274.xml"/><Relationship Id="rId8" Type="http://schemas.openxmlformats.org/officeDocument/2006/relationships/slideLayout" Target="../slideLayouts/slideLayout252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0.xml"/><Relationship Id="rId18" Type="http://schemas.openxmlformats.org/officeDocument/2006/relationships/slideLayout" Target="../slideLayouts/slideLayout295.xml"/><Relationship Id="rId26" Type="http://schemas.openxmlformats.org/officeDocument/2006/relationships/slideLayout" Target="../slideLayouts/slideLayout303.xml"/><Relationship Id="rId3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slideLayout" Target="../slideLayouts/slideLayout294.xml"/><Relationship Id="rId25" Type="http://schemas.openxmlformats.org/officeDocument/2006/relationships/slideLayout" Target="../slideLayouts/slideLayout302.xml"/><Relationship Id="rId33" Type="http://schemas.openxmlformats.org/officeDocument/2006/relationships/slideLayout" Target="../slideLayouts/slideLayout310.xml"/><Relationship Id="rId2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93.xml"/><Relationship Id="rId20" Type="http://schemas.openxmlformats.org/officeDocument/2006/relationships/slideLayout" Target="../slideLayouts/slideLayout297.xml"/><Relationship Id="rId29" Type="http://schemas.openxmlformats.org/officeDocument/2006/relationships/slideLayout" Target="../slideLayouts/slideLayout306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301.xml"/><Relationship Id="rId32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2.xml"/><Relationship Id="rId23" Type="http://schemas.openxmlformats.org/officeDocument/2006/relationships/slideLayout" Target="../slideLayouts/slideLayout300.xml"/><Relationship Id="rId28" Type="http://schemas.openxmlformats.org/officeDocument/2006/relationships/slideLayout" Target="../slideLayouts/slideLayout305.xml"/><Relationship Id="rId36" Type="http://schemas.openxmlformats.org/officeDocument/2006/relationships/theme" Target="../theme/theme18.xml"/><Relationship Id="rId10" Type="http://schemas.openxmlformats.org/officeDocument/2006/relationships/slideLayout" Target="../slideLayouts/slideLayout287.xml"/><Relationship Id="rId19" Type="http://schemas.openxmlformats.org/officeDocument/2006/relationships/slideLayout" Target="../slideLayouts/slideLayout296.xml"/><Relationship Id="rId31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99.xml"/><Relationship Id="rId27" Type="http://schemas.openxmlformats.org/officeDocument/2006/relationships/slideLayout" Target="../slideLayouts/slideLayout304.xml"/><Relationship Id="rId30" Type="http://schemas.openxmlformats.org/officeDocument/2006/relationships/slideLayout" Target="../slideLayouts/slideLayout307.xml"/><Relationship Id="rId35" Type="http://schemas.openxmlformats.org/officeDocument/2006/relationships/slideLayout" Target="../slideLayouts/slideLayout312.xml"/><Relationship Id="rId8" Type="http://schemas.openxmlformats.org/officeDocument/2006/relationships/slideLayout" Target="../slideLayouts/slideLayout285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34" Type="http://schemas.openxmlformats.org/officeDocument/2006/relationships/slideLayout" Target="../slideLayouts/slideLayout36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34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slideLayout" Target="../slideLayouts/slideLayout30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3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2.xml"/><Relationship Id="rId35" Type="http://schemas.openxmlformats.org/officeDocument/2006/relationships/slideLayout" Target="../slideLayouts/slideLayout37.xml"/><Relationship Id="rId8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8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9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42" Type="http://schemas.openxmlformats.org/officeDocument/2006/relationships/image" Target="../media/image6.png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41" Type="http://schemas.openxmlformats.org/officeDocument/2006/relationships/theme" Target="../theme/theme7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slideLayout" Target="../slideLayouts/slideLayout109.xml"/><Relationship Id="rId40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slideLayout" Target="../slideLayouts/slideLayout110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1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59" y="97042"/>
            <a:ext cx="1299741" cy="402977"/>
          </a:xfrm>
          <a:prstGeom prst="rect">
            <a:avLst/>
          </a:prstGeom>
        </p:spPr>
      </p:pic>
      <p:sp>
        <p:nvSpPr>
          <p:cNvPr id="7" name="TextBox 20"/>
          <p:cNvSpPr txBox="1">
            <a:spLocks noChangeArrowheads="1"/>
          </p:cNvSpPr>
          <p:nvPr userDrawn="1"/>
        </p:nvSpPr>
        <p:spPr bwMode="auto">
          <a:xfrm>
            <a:off x="-38069" y="6642851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D47804-9DC0-3E4D-8FC3-208AD015D7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720" y="266158"/>
            <a:ext cx="1140256" cy="35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68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</p:sldLayoutIdLst>
  <p:transition spd="med">
    <p:fade/>
  </p:transition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1800" kern="1200">
          <a:solidFill>
            <a:schemeClr val="bg1"/>
          </a:solidFill>
          <a:latin typeface="Helvetica"/>
          <a:ea typeface="ＭＳ Ｐゴシック" charset="0"/>
          <a:cs typeface="Helvetica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5pPr>
      <a:lvl6pPr marL="342891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6pPr>
      <a:lvl7pPr marL="685783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7pPr>
      <a:lvl8pPr marL="1028674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8pPr>
      <a:lvl9pPr marL="1371566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9pPr>
    </p:titleStyle>
    <p:bodyStyle>
      <a:lvl1pPr marL="82151" indent="0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None/>
        <a:defRPr sz="2000" b="1" i="0" kern="1200" spc="200" baseline="0">
          <a:solidFill>
            <a:srgbClr val="33384A"/>
          </a:solidFill>
          <a:latin typeface="Proxima Nova Semibold" charset="0"/>
          <a:ea typeface="Proxima Nova Semibold" charset="0"/>
          <a:cs typeface="Proxima Nova Semibold" charset="0"/>
        </a:defRPr>
      </a:lvl1pPr>
      <a:lvl2pPr marL="492906" indent="-184542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9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2pPr>
      <a:lvl3pPr marL="691737" indent="-164303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8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3pPr>
      <a:lvl4pPr marL="884613" indent="-150015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6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4pPr>
      <a:lvl5pPr marL="1041771" indent="-136919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5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5pPr>
      <a:lvl6pPr marL="120697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351" kern="1200">
          <a:solidFill>
            <a:schemeClr val="tx2"/>
          </a:solidFill>
          <a:latin typeface="+mn-lt"/>
          <a:ea typeface="+mn-ea"/>
          <a:cs typeface="+mn-cs"/>
        </a:defRPr>
      </a:lvl6pPr>
      <a:lvl7pPr marL="1371566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152243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125" kern="1200">
          <a:solidFill>
            <a:schemeClr val="tx2"/>
          </a:solidFill>
          <a:latin typeface="+mn-lt"/>
          <a:ea typeface="+mn-ea"/>
          <a:cs typeface="+mn-cs"/>
        </a:defRPr>
      </a:lvl8pPr>
      <a:lvl9pPr marL="1680169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05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9244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  <p:sldLayoutId id="2147484306" r:id="rId2"/>
    <p:sldLayoutId id="2147484307" r:id="rId3"/>
    <p:sldLayoutId id="2147484308" r:id="rId4"/>
    <p:sldLayoutId id="2147484310" r:id="rId5"/>
    <p:sldLayoutId id="2147484311" r:id="rId6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223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  <p:sldLayoutId id="2147484326" r:id="rId13"/>
    <p:sldLayoutId id="2147484327" r:id="rId14"/>
    <p:sldLayoutId id="2147484328" r:id="rId15"/>
    <p:sldLayoutId id="2147484329" r:id="rId16"/>
    <p:sldLayoutId id="2147484330" r:id="rId17"/>
    <p:sldLayoutId id="2147484331" r:id="rId18"/>
    <p:sldLayoutId id="2147484332" r:id="rId19"/>
    <p:sldLayoutId id="2147484333" r:id="rId20"/>
    <p:sldLayoutId id="2147484334" r:id="rId21"/>
    <p:sldLayoutId id="2147484335" r:id="rId22"/>
    <p:sldLayoutId id="2147484336" r:id="rId23"/>
    <p:sldLayoutId id="2147484337" r:id="rId24"/>
    <p:sldLayoutId id="2147484338" r:id="rId25"/>
    <p:sldLayoutId id="2147484339" r:id="rId26"/>
    <p:sldLayoutId id="2147484340" r:id="rId27"/>
    <p:sldLayoutId id="2147484341" r:id="rId28"/>
    <p:sldLayoutId id="2147484342" r:id="rId29"/>
    <p:sldLayoutId id="2147484343" r:id="rId30"/>
    <p:sldLayoutId id="2147484344" r:id="rId31"/>
    <p:sldLayoutId id="2147484345" r:id="rId32"/>
    <p:sldLayoutId id="2147484346" r:id="rId33"/>
    <p:sldLayoutId id="2147484347" r:id="rId34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0258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7222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  <p:sldLayoutId id="2147484360" r:id="rId9"/>
    <p:sldLayoutId id="2147484361" r:id="rId10"/>
    <p:sldLayoutId id="2147484362" r:id="rId11"/>
    <p:sldLayoutId id="2147484363" r:id="rId12"/>
    <p:sldLayoutId id="2147484364" r:id="rId13"/>
    <p:sldLayoutId id="2147484365" r:id="rId14"/>
    <p:sldLayoutId id="2147484366" r:id="rId15"/>
    <p:sldLayoutId id="2147484367" r:id="rId16"/>
    <p:sldLayoutId id="2147484368" r:id="rId17"/>
    <p:sldLayoutId id="2147484369" r:id="rId18"/>
    <p:sldLayoutId id="2147484370" r:id="rId19"/>
    <p:sldLayoutId id="2147484371" r:id="rId20"/>
    <p:sldLayoutId id="2147484372" r:id="rId21"/>
    <p:sldLayoutId id="2147484373" r:id="rId22"/>
    <p:sldLayoutId id="2147484374" r:id="rId23"/>
    <p:sldLayoutId id="2147484375" r:id="rId24"/>
    <p:sldLayoutId id="2147484376" r:id="rId25"/>
    <p:sldLayoutId id="2147484377" r:id="rId26"/>
    <p:sldLayoutId id="2147484378" r:id="rId27"/>
    <p:sldLayoutId id="2147484379" r:id="rId28"/>
    <p:sldLayoutId id="2147484380" r:id="rId29"/>
    <p:sldLayoutId id="2147484381" r:id="rId30"/>
    <p:sldLayoutId id="2147484382" r:id="rId31"/>
    <p:sldLayoutId id="2147484383" r:id="rId32"/>
    <p:sldLayoutId id="2147484384" r:id="rId33"/>
    <p:sldLayoutId id="2147484385" r:id="rId34"/>
    <p:sldLayoutId id="2147484386" r:id="rId35"/>
    <p:sldLayoutId id="2147484387" r:id="rId36"/>
    <p:sldLayoutId id="2147484388" r:id="rId37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95E23-91F6-504A-BD81-A26DD621F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412D10-2379-9945-ABD7-A7CA974EF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F3001F-1776-5347-A288-0E40C0CDD7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C83A66-6730-7F4C-A9C7-FB481DA887C6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5E51C2-E2ED-C44F-9DF0-C911219CDD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97669D-B619-1748-91DD-33E6CD58C5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77676-F2BD-6642-878D-EDB33FB936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66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Résultat de recherche d'images pour &quot;logo mazars&quot;">
            <a:extLst>
              <a:ext uri="{FF2B5EF4-FFF2-40B4-BE49-F238E27FC236}">
                <a16:creationId xmlns:a16="http://schemas.microsoft.com/office/drawing/2014/main" id="{5F442E15-36F5-4185-ACBD-16DA84477534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76FD6D-F988-4043-B0FC-C8DBE5B19798}"/>
              </a:ext>
            </a:extLst>
          </p:cNvPr>
          <p:cNvSpPr/>
          <p:nvPr userDrawn="1"/>
        </p:nvSpPr>
        <p:spPr>
          <a:xfrm rot="5400000">
            <a:off x="-289561" y="289560"/>
            <a:ext cx="762000" cy="182881"/>
          </a:xfrm>
          <a:prstGeom prst="rect">
            <a:avLst/>
          </a:prstGeom>
          <a:solidFill>
            <a:srgbClr val="13B3E2"/>
          </a:solidFill>
          <a:ln>
            <a:solidFill>
              <a:srgbClr val="75BD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0AA1B2-6E4A-4AE3-B787-E37DB6331505}"/>
              </a:ext>
            </a:extLst>
          </p:cNvPr>
          <p:cNvSpPr/>
          <p:nvPr userDrawn="1"/>
        </p:nvSpPr>
        <p:spPr>
          <a:xfrm rot="5400000">
            <a:off x="-289560" y="1051561"/>
            <a:ext cx="762000" cy="182881"/>
          </a:xfrm>
          <a:prstGeom prst="rect">
            <a:avLst/>
          </a:prstGeom>
          <a:solidFill>
            <a:srgbClr val="2DBA9E"/>
          </a:solidFill>
          <a:ln>
            <a:solidFill>
              <a:srgbClr val="75BD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3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7136E9F8-BF67-4D61-9332-9A73B9D975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5280" y="6211217"/>
            <a:ext cx="1483360" cy="57686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90D9E21-E2D5-48F9-AE3F-6C18A8A8C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9896" b="15849"/>
          <a:stretch/>
        </p:blipFill>
        <p:spPr>
          <a:xfrm>
            <a:off x="9972596" y="6211217"/>
            <a:ext cx="2138124" cy="68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608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8491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  <p:sldLayoutId id="2147484506" r:id="rId13"/>
    <p:sldLayoutId id="2147484507" r:id="rId14"/>
    <p:sldLayoutId id="2147484508" r:id="rId15"/>
    <p:sldLayoutId id="2147484509" r:id="rId16"/>
    <p:sldLayoutId id="2147484510" r:id="rId17"/>
    <p:sldLayoutId id="2147484511" r:id="rId18"/>
    <p:sldLayoutId id="2147484512" r:id="rId19"/>
    <p:sldLayoutId id="2147484513" r:id="rId20"/>
    <p:sldLayoutId id="2147484514" r:id="rId21"/>
    <p:sldLayoutId id="2147484515" r:id="rId22"/>
    <p:sldLayoutId id="2147484516" r:id="rId23"/>
    <p:sldLayoutId id="2147484517" r:id="rId24"/>
    <p:sldLayoutId id="2147484518" r:id="rId25"/>
    <p:sldLayoutId id="2147484519" r:id="rId26"/>
    <p:sldLayoutId id="2147484520" r:id="rId27"/>
    <p:sldLayoutId id="2147484521" r:id="rId28"/>
    <p:sldLayoutId id="2147484522" r:id="rId29"/>
    <p:sldLayoutId id="2147484523" r:id="rId30"/>
    <p:sldLayoutId id="2147484524" r:id="rId31"/>
    <p:sldLayoutId id="2147484525" r:id="rId32"/>
    <p:sldLayoutId id="2147484526" r:id="rId33"/>
    <p:sldLayoutId id="2147484527" r:id="rId34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21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  <p:sldLayoutId id="2147484533" r:id="rId5"/>
    <p:sldLayoutId id="2147484534" r:id="rId6"/>
    <p:sldLayoutId id="2147484535" r:id="rId7"/>
    <p:sldLayoutId id="2147484536" r:id="rId8"/>
    <p:sldLayoutId id="2147484537" r:id="rId9"/>
    <p:sldLayoutId id="2147484538" r:id="rId10"/>
    <p:sldLayoutId id="2147484539" r:id="rId11"/>
    <p:sldLayoutId id="2147484540" r:id="rId12"/>
    <p:sldLayoutId id="2147484541" r:id="rId13"/>
    <p:sldLayoutId id="2147484542" r:id="rId14"/>
    <p:sldLayoutId id="2147484543" r:id="rId15"/>
    <p:sldLayoutId id="2147484544" r:id="rId16"/>
    <p:sldLayoutId id="2147484545" r:id="rId17"/>
    <p:sldLayoutId id="2147484546" r:id="rId18"/>
    <p:sldLayoutId id="2147484547" r:id="rId19"/>
    <p:sldLayoutId id="2147484548" r:id="rId20"/>
    <p:sldLayoutId id="2147484549" r:id="rId21"/>
    <p:sldLayoutId id="2147484550" r:id="rId22"/>
    <p:sldLayoutId id="2147484551" r:id="rId23"/>
    <p:sldLayoutId id="2147484552" r:id="rId24"/>
    <p:sldLayoutId id="2147484553" r:id="rId25"/>
    <p:sldLayoutId id="2147484554" r:id="rId26"/>
    <p:sldLayoutId id="2147484555" r:id="rId27"/>
    <p:sldLayoutId id="2147484556" r:id="rId28"/>
    <p:sldLayoutId id="2147484557" r:id="rId29"/>
    <p:sldLayoutId id="2147484558" r:id="rId30"/>
    <p:sldLayoutId id="2147484559" r:id="rId31"/>
    <p:sldLayoutId id="2147484560" r:id="rId32"/>
    <p:sldLayoutId id="2147484561" r:id="rId33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7329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3" r:id="rId1"/>
    <p:sldLayoutId id="2147484564" r:id="rId2"/>
    <p:sldLayoutId id="2147484565" r:id="rId3"/>
    <p:sldLayoutId id="2147484566" r:id="rId4"/>
    <p:sldLayoutId id="2147484567" r:id="rId5"/>
    <p:sldLayoutId id="2147484568" r:id="rId6"/>
    <p:sldLayoutId id="2147484569" r:id="rId7"/>
    <p:sldLayoutId id="2147484570" r:id="rId8"/>
    <p:sldLayoutId id="2147484571" r:id="rId9"/>
    <p:sldLayoutId id="2147484572" r:id="rId10"/>
    <p:sldLayoutId id="2147484573" r:id="rId11"/>
    <p:sldLayoutId id="2147484574" r:id="rId12"/>
    <p:sldLayoutId id="2147484575" r:id="rId13"/>
    <p:sldLayoutId id="2147484576" r:id="rId14"/>
    <p:sldLayoutId id="2147484577" r:id="rId15"/>
    <p:sldLayoutId id="2147484578" r:id="rId16"/>
    <p:sldLayoutId id="2147484579" r:id="rId17"/>
    <p:sldLayoutId id="2147484580" r:id="rId18"/>
    <p:sldLayoutId id="2147484581" r:id="rId19"/>
    <p:sldLayoutId id="2147484582" r:id="rId20"/>
    <p:sldLayoutId id="2147484583" r:id="rId21"/>
    <p:sldLayoutId id="2147484584" r:id="rId22"/>
    <p:sldLayoutId id="2147484585" r:id="rId23"/>
    <p:sldLayoutId id="2147484586" r:id="rId24"/>
    <p:sldLayoutId id="2147484587" r:id="rId25"/>
    <p:sldLayoutId id="2147484588" r:id="rId26"/>
    <p:sldLayoutId id="2147484589" r:id="rId27"/>
    <p:sldLayoutId id="2147484590" r:id="rId28"/>
    <p:sldLayoutId id="2147484591" r:id="rId29"/>
    <p:sldLayoutId id="2147484592" r:id="rId30"/>
    <p:sldLayoutId id="2147484593" r:id="rId31"/>
    <p:sldLayoutId id="2147484594" r:id="rId32"/>
    <p:sldLayoutId id="2147484595" r:id="rId33"/>
    <p:sldLayoutId id="2147484596" r:id="rId34"/>
    <p:sldLayoutId id="2147484597" r:id="rId35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91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</p:sldLayoutIdLst>
  <p:hf sldNum="0" hdr="0" ftr="0" dt="0"/>
  <p:txStyles>
    <p:titleStyle>
      <a:lvl1pPr algn="ctr" defTabSz="914378" rtl="0" eaLnBrk="1" latinLnBrk="0" hangingPunct="1">
        <a:lnSpc>
          <a:spcPct val="86000"/>
        </a:lnSpc>
        <a:spcBef>
          <a:spcPct val="0"/>
        </a:spcBef>
        <a:buNone/>
        <a:defRPr sz="2100" kern="800" spc="-4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kern="800" spc="-10">
          <a:solidFill>
            <a:schemeClr val="tx1"/>
          </a:solidFill>
          <a:latin typeface="+mn-lt"/>
          <a:ea typeface="+mn-ea"/>
          <a:cs typeface="+mn-cs"/>
        </a:defRPr>
      </a:lvl1pPr>
      <a:lvl2pPr marL="344480" indent="-173034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2pPr>
      <a:lvl3pPr marL="515925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kern="800">
          <a:solidFill>
            <a:schemeClr val="tx1"/>
          </a:solidFill>
          <a:latin typeface="+mn-lt"/>
          <a:ea typeface="+mn-ea"/>
          <a:cs typeface="+mn-cs"/>
        </a:defRPr>
      </a:lvl3pPr>
      <a:lvl4pPr marL="687371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kern="800">
          <a:solidFill>
            <a:schemeClr val="tx1"/>
          </a:solidFill>
          <a:latin typeface="+mn-lt"/>
          <a:ea typeface="+mn-ea"/>
          <a:cs typeface="+mn-cs"/>
        </a:defRPr>
      </a:lvl4pPr>
      <a:lvl5pPr marL="858817" indent="-171446" algn="l" defTabSz="914378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kern="8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9945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4183" r:id="rId2"/>
    <p:sldLayoutId id="2147483942" r:id="rId3"/>
    <p:sldLayoutId id="2147484080" r:id="rId4"/>
    <p:sldLayoutId id="2147484199" r:id="rId5"/>
    <p:sldLayoutId id="2147484200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  <p:sldLayoutId id="2147484089" r:id="rId13"/>
    <p:sldLayoutId id="2147484090" r:id="rId14"/>
    <p:sldLayoutId id="2147484091" r:id="rId15"/>
    <p:sldLayoutId id="2147484092" r:id="rId16"/>
    <p:sldLayoutId id="2147484348" r:id="rId17"/>
    <p:sldLayoutId id="2147484094" r:id="rId18"/>
    <p:sldLayoutId id="2147484349" r:id="rId19"/>
    <p:sldLayoutId id="2147484350" r:id="rId20"/>
    <p:sldLayoutId id="2147484097" r:id="rId21"/>
    <p:sldLayoutId id="2147484098" r:id="rId22"/>
    <p:sldLayoutId id="2147484197" r:id="rId23"/>
    <p:sldLayoutId id="2147484100" r:id="rId24"/>
    <p:sldLayoutId id="2147484101" r:id="rId25"/>
    <p:sldLayoutId id="2147484102" r:id="rId26"/>
    <p:sldLayoutId id="2147484103" r:id="rId27"/>
    <p:sldLayoutId id="2147484104" r:id="rId28"/>
    <p:sldLayoutId id="2147484105" r:id="rId29"/>
    <p:sldLayoutId id="2147484106" r:id="rId30"/>
    <p:sldLayoutId id="2147484107" r:id="rId31"/>
    <p:sldLayoutId id="2147484108" r:id="rId32"/>
    <p:sldLayoutId id="2147484109" r:id="rId33"/>
    <p:sldLayoutId id="2147484110" r:id="rId34"/>
    <p:sldLayoutId id="2147484111" r:id="rId35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4"/>
          <p:cNvSpPr>
            <a:spLocks noChangeArrowheads="1"/>
          </p:cNvSpPr>
          <p:nvPr/>
        </p:nvSpPr>
        <p:spPr bwMode="auto">
          <a:xfrm>
            <a:off x="5950768" y="6581963"/>
            <a:ext cx="290464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29A605C7-7B8D-E64C-8FF6-02688FCF1356}" type="slidenum">
              <a:rPr lang="en-US" sz="675">
                <a:solidFill>
                  <a:srgbClr val="404040"/>
                </a:solidFill>
                <a:latin typeface="Helvetica" charset="0"/>
                <a:cs typeface="Helvetica" charset="0"/>
              </a:rPr>
              <a:pPr/>
              <a:t>‹#›</a:t>
            </a:fld>
            <a:endParaRPr lang="en-US" sz="675">
              <a:solidFill>
                <a:srgbClr val="404040"/>
              </a:solidFill>
              <a:latin typeface="Helvetica" charset="0"/>
              <a:cs typeface="Helvetica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59" y="97042"/>
            <a:ext cx="1299741" cy="402977"/>
          </a:xfrm>
          <a:prstGeom prst="rect">
            <a:avLst/>
          </a:prstGeom>
        </p:spPr>
      </p:pic>
      <p:sp>
        <p:nvSpPr>
          <p:cNvPr id="7" name="TextBox 20"/>
          <p:cNvSpPr txBox="1">
            <a:spLocks noChangeArrowheads="1"/>
          </p:cNvSpPr>
          <p:nvPr userDrawn="1"/>
        </p:nvSpPr>
        <p:spPr bwMode="auto">
          <a:xfrm>
            <a:off x="-38069" y="6642851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19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D47804-9DC0-3E4D-8FC3-208AD015D7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720" y="266158"/>
            <a:ext cx="1140256" cy="35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55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</p:sldLayoutIdLst>
  <p:transition spd="med">
    <p:fade/>
  </p:transition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1800" kern="1200">
          <a:solidFill>
            <a:schemeClr val="bg1"/>
          </a:solidFill>
          <a:latin typeface="Helvetica"/>
          <a:ea typeface="ＭＳ Ｐゴシック" charset="0"/>
          <a:cs typeface="Helvetica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5pPr>
      <a:lvl6pPr marL="342891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6pPr>
      <a:lvl7pPr marL="685783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7pPr>
      <a:lvl8pPr marL="1028674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8pPr>
      <a:lvl9pPr marL="1371566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9pPr>
    </p:titleStyle>
    <p:bodyStyle>
      <a:lvl1pPr marL="82151" indent="0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None/>
        <a:defRPr sz="2000" b="1" i="0" kern="1200" spc="200" baseline="0">
          <a:solidFill>
            <a:srgbClr val="33384A"/>
          </a:solidFill>
          <a:latin typeface="Proxima Nova Semibold" charset="0"/>
          <a:ea typeface="Proxima Nova Semibold" charset="0"/>
          <a:cs typeface="Proxima Nova Semibold" charset="0"/>
        </a:defRPr>
      </a:lvl1pPr>
      <a:lvl2pPr marL="492906" indent="-184542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9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2pPr>
      <a:lvl3pPr marL="691737" indent="-164303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8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3pPr>
      <a:lvl4pPr marL="884613" indent="-150015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6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4pPr>
      <a:lvl5pPr marL="1041771" indent="-136919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5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5pPr>
      <a:lvl6pPr marL="120697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351" kern="1200">
          <a:solidFill>
            <a:schemeClr val="tx2"/>
          </a:solidFill>
          <a:latin typeface="+mn-lt"/>
          <a:ea typeface="+mn-ea"/>
          <a:cs typeface="+mn-cs"/>
        </a:defRPr>
      </a:lvl6pPr>
      <a:lvl7pPr marL="1371566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152243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125" kern="1200">
          <a:solidFill>
            <a:schemeClr val="tx2"/>
          </a:solidFill>
          <a:latin typeface="+mn-lt"/>
          <a:ea typeface="+mn-ea"/>
          <a:cs typeface="+mn-cs"/>
        </a:defRPr>
      </a:lvl8pPr>
      <a:lvl9pPr marL="1680169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05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0580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  <p:sldLayoutId id="2147484142" r:id="rId27"/>
    <p:sldLayoutId id="2147484143" r:id="rId28"/>
    <p:sldLayoutId id="2147484144" r:id="rId29"/>
    <p:sldLayoutId id="2147484145" r:id="rId30"/>
    <p:sldLayoutId id="2147484146" r:id="rId31"/>
    <p:sldLayoutId id="2147484303" r:id="rId32"/>
    <p:sldLayoutId id="2147484149" r:id="rId33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4"/>
          <p:cNvSpPr>
            <a:spLocks noChangeArrowheads="1"/>
          </p:cNvSpPr>
          <p:nvPr/>
        </p:nvSpPr>
        <p:spPr bwMode="auto">
          <a:xfrm>
            <a:off x="5950768" y="6581963"/>
            <a:ext cx="290464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29A605C7-7B8D-E64C-8FF6-02688FCF1356}" type="slidenum">
              <a:rPr lang="en-US" sz="675">
                <a:solidFill>
                  <a:srgbClr val="404040"/>
                </a:solidFill>
                <a:latin typeface="Helvetica" charset="0"/>
                <a:cs typeface="Helvetica" charset="0"/>
              </a:rPr>
              <a:pPr/>
              <a:t>‹#›</a:t>
            </a:fld>
            <a:endParaRPr lang="en-US" sz="675">
              <a:solidFill>
                <a:srgbClr val="404040"/>
              </a:solidFill>
              <a:latin typeface="Helvetica" charset="0"/>
              <a:cs typeface="Helvetica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59" y="97042"/>
            <a:ext cx="1299741" cy="402977"/>
          </a:xfrm>
          <a:prstGeom prst="rect">
            <a:avLst/>
          </a:prstGeom>
        </p:spPr>
      </p:pic>
      <p:sp>
        <p:nvSpPr>
          <p:cNvPr id="7" name="TextBox 20"/>
          <p:cNvSpPr txBox="1">
            <a:spLocks noChangeArrowheads="1"/>
          </p:cNvSpPr>
          <p:nvPr userDrawn="1"/>
        </p:nvSpPr>
        <p:spPr bwMode="auto">
          <a:xfrm>
            <a:off x="-38069" y="6642851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0 SirionLabs</a:t>
            </a:r>
            <a:r>
              <a:rPr lang="en-US" sz="700" baseline="0">
                <a:solidFill>
                  <a:srgbClr val="404040"/>
                </a:solidFill>
              </a:rPr>
              <a:t> Pte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D47804-9DC0-3E4D-8FC3-208AD015D7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720" y="266158"/>
            <a:ext cx="1140256" cy="35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097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</p:sldLayoutIdLst>
  <p:transition spd="med">
    <p:fade/>
  </p:transition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1800" kern="1200">
          <a:solidFill>
            <a:schemeClr val="bg1"/>
          </a:solidFill>
          <a:latin typeface="Helvetica"/>
          <a:ea typeface="ＭＳ Ｐゴシック" charset="0"/>
          <a:cs typeface="Helvetica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5pPr>
      <a:lvl6pPr marL="342891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6pPr>
      <a:lvl7pPr marL="685783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7pPr>
      <a:lvl8pPr marL="1028674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8pPr>
      <a:lvl9pPr marL="1371566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Helvetica" charset="0"/>
          <a:ea typeface="ＭＳ Ｐゴシック" charset="0"/>
        </a:defRPr>
      </a:lvl9pPr>
    </p:titleStyle>
    <p:bodyStyle>
      <a:lvl1pPr marL="82151" indent="0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None/>
        <a:defRPr sz="2000" b="1" i="0" kern="1200" spc="200" baseline="0">
          <a:solidFill>
            <a:srgbClr val="33384A"/>
          </a:solidFill>
          <a:latin typeface="Proxima Nova Semibold" charset="0"/>
          <a:ea typeface="Proxima Nova Semibold" charset="0"/>
          <a:cs typeface="Proxima Nova Semibold" charset="0"/>
        </a:defRPr>
      </a:lvl1pPr>
      <a:lvl2pPr marL="492906" indent="-184542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9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2pPr>
      <a:lvl3pPr marL="691737" indent="-164303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8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3pPr>
      <a:lvl4pPr marL="884613" indent="-150015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651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4pPr>
      <a:lvl5pPr marL="1041771" indent="-136919" algn="l" rtl="0" eaLnBrk="1" fontAlgn="base" hangingPunct="1">
        <a:spcBef>
          <a:spcPts val="225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1500" b="0" i="0" kern="1200">
          <a:solidFill>
            <a:srgbClr val="33384A"/>
          </a:solidFill>
          <a:latin typeface="Proxima Nova" charset="0"/>
          <a:ea typeface="Proxima Nova" charset="0"/>
          <a:cs typeface="Proxima Nova" charset="0"/>
        </a:defRPr>
      </a:lvl5pPr>
      <a:lvl6pPr marL="120697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351" kern="1200">
          <a:solidFill>
            <a:schemeClr val="tx2"/>
          </a:solidFill>
          <a:latin typeface="+mn-lt"/>
          <a:ea typeface="+mn-ea"/>
          <a:cs typeface="+mn-cs"/>
        </a:defRPr>
      </a:lvl6pPr>
      <a:lvl7pPr marL="1371566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1522438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125" kern="1200">
          <a:solidFill>
            <a:schemeClr val="tx2"/>
          </a:solidFill>
          <a:latin typeface="+mn-lt"/>
          <a:ea typeface="+mn-ea"/>
          <a:cs typeface="+mn-cs"/>
        </a:defRPr>
      </a:lvl8pPr>
      <a:lvl9pPr marL="1680169" indent="-137157" algn="l" rtl="0" eaLnBrk="1" latinLnBrk="0" hangingPunct="1">
        <a:spcBef>
          <a:spcPts val="225"/>
        </a:spcBef>
        <a:buClr>
          <a:schemeClr val="accent1"/>
        </a:buClr>
        <a:buFont typeface="Wingdings 2" panose="05020102010507070707" pitchFamily="18" charset="2"/>
        <a:buChar char=""/>
        <a:defRPr kumimoji="0" sz="105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1EB527-649E-4891-B145-3A1B3E3EF128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9720" y="266158"/>
            <a:ext cx="1140256" cy="35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82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  <p:sldLayoutId id="2147484177" r:id="rId24"/>
    <p:sldLayoutId id="2147484178" r:id="rId25"/>
    <p:sldLayoutId id="2147484179" r:id="rId26"/>
    <p:sldLayoutId id="2147484180" r:id="rId27"/>
    <p:sldLayoutId id="2147484181" r:id="rId28"/>
    <p:sldLayoutId id="2147484182" r:id="rId29"/>
    <p:sldLayoutId id="2147484312" r:id="rId30"/>
    <p:sldLayoutId id="2147484184" r:id="rId31"/>
    <p:sldLayoutId id="2147484185" r:id="rId32"/>
    <p:sldLayoutId id="2147484186" r:id="rId33"/>
    <p:sldLayoutId id="2147484187" r:id="rId34"/>
    <p:sldLayoutId id="2147484188" r:id="rId35"/>
    <p:sldLayoutId id="2147484190" r:id="rId36"/>
    <p:sldLayoutId id="2147484191" r:id="rId37"/>
    <p:sldLayoutId id="2147484301" r:id="rId38"/>
    <p:sldLayoutId id="2147484193" r:id="rId39"/>
    <p:sldLayoutId id="2147484194" r:id="rId40"/>
  </p:sldLayoutIdLst>
  <p:txStyles>
    <p:titleStyle>
      <a:lvl1pPr algn="ctr" defTabSz="1219231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1219231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29" indent="-230724" algn="l" defTabSz="1219231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34" indent="-228605" algn="l" defTabSz="1219231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540" indent="-228605" algn="l" defTabSz="1219231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147" indent="-228605" algn="l" defTabSz="1219231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884" indent="-304807" algn="l" defTabSz="12192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499" indent="-304807" algn="l" defTabSz="12192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2115" indent="-304807" algn="l" defTabSz="12192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729" indent="-304807" algn="l" defTabSz="1219231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16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31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45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61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76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2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307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922" algn="l" defTabSz="12192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>
          <a:xfrm>
            <a:off x="5" y="0"/>
            <a:ext cx="12218988" cy="5476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n-US" sz="1800">
              <a:solidFill>
                <a:prstClr val="white"/>
              </a:solidFill>
              <a:latin typeface="Myriad Pro" pitchFamily="34" charset="0"/>
            </a:endParaRPr>
          </a:p>
        </p:txBody>
      </p:sp>
      <p:sp>
        <p:nvSpPr>
          <p:cNvPr id="1027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609600" y="825500"/>
            <a:ext cx="10972801" cy="574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1455738" y="73046"/>
            <a:ext cx="105378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1029" name="Group 2"/>
          <p:cNvGrpSpPr>
            <a:grpSpLocks/>
          </p:cNvGrpSpPr>
          <p:nvPr/>
        </p:nvGrpSpPr>
        <p:grpSpPr bwMode="auto">
          <a:xfrm>
            <a:off x="118550" y="67930"/>
            <a:ext cx="544689" cy="425979"/>
            <a:chOff x="11271836" y="16280"/>
            <a:chExt cx="581339" cy="482878"/>
          </a:xfrm>
        </p:grpSpPr>
        <p:sp>
          <p:nvSpPr>
            <p:cNvPr id="1032" name="AutoShape 7"/>
            <p:cNvSpPr>
              <a:spLocks noChangeAspect="1" noChangeArrowheads="1" noTextEdit="1"/>
            </p:cNvSpPr>
            <p:nvPr/>
          </p:nvSpPr>
          <p:spPr bwMode="auto">
            <a:xfrm>
              <a:off x="11271836" y="16280"/>
              <a:ext cx="581339" cy="482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3" name="Freeform 10"/>
            <p:cNvSpPr>
              <a:spLocks/>
            </p:cNvSpPr>
            <p:nvPr/>
          </p:nvSpPr>
          <p:spPr bwMode="auto">
            <a:xfrm>
              <a:off x="11276830" y="383861"/>
              <a:ext cx="57078" cy="85759"/>
            </a:xfrm>
            <a:custGeom>
              <a:avLst/>
              <a:gdLst>
                <a:gd name="T0" fmla="*/ 37814 w 400"/>
                <a:gd name="T1" fmla="*/ 285 h 601"/>
                <a:gd name="T2" fmla="*/ 46804 w 400"/>
                <a:gd name="T3" fmla="*/ 1712 h 601"/>
                <a:gd name="T4" fmla="*/ 53653 w 400"/>
                <a:gd name="T5" fmla="*/ 4138 h 601"/>
                <a:gd name="T6" fmla="*/ 47089 w 400"/>
                <a:gd name="T7" fmla="*/ 18265 h 601"/>
                <a:gd name="T8" fmla="*/ 40811 w 400"/>
                <a:gd name="T9" fmla="*/ 16267 h 601"/>
                <a:gd name="T10" fmla="*/ 32106 w 400"/>
                <a:gd name="T11" fmla="*/ 15268 h 601"/>
                <a:gd name="T12" fmla="*/ 25542 w 400"/>
                <a:gd name="T13" fmla="*/ 16552 h 601"/>
                <a:gd name="T14" fmla="*/ 21404 w 400"/>
                <a:gd name="T15" fmla="*/ 19264 h 601"/>
                <a:gd name="T16" fmla="*/ 19977 w 400"/>
                <a:gd name="T17" fmla="*/ 23402 h 601"/>
                <a:gd name="T18" fmla="*/ 21547 w 400"/>
                <a:gd name="T19" fmla="*/ 27825 h 601"/>
                <a:gd name="T20" fmla="*/ 26684 w 400"/>
                <a:gd name="T21" fmla="*/ 31535 h 601"/>
                <a:gd name="T22" fmla="*/ 35531 w 400"/>
                <a:gd name="T23" fmla="*/ 34960 h 601"/>
                <a:gd name="T24" fmla="*/ 46233 w 400"/>
                <a:gd name="T25" fmla="*/ 40240 h 601"/>
                <a:gd name="T26" fmla="*/ 53083 w 400"/>
                <a:gd name="T27" fmla="*/ 46946 h 601"/>
                <a:gd name="T28" fmla="*/ 56650 w 400"/>
                <a:gd name="T29" fmla="*/ 55080 h 601"/>
                <a:gd name="T30" fmla="*/ 56650 w 400"/>
                <a:gd name="T31" fmla="*/ 63641 h 601"/>
                <a:gd name="T32" fmla="*/ 54509 w 400"/>
                <a:gd name="T33" fmla="*/ 70633 h 601"/>
                <a:gd name="T34" fmla="*/ 50371 w 400"/>
                <a:gd name="T35" fmla="*/ 76769 h 601"/>
                <a:gd name="T36" fmla="*/ 43665 w 400"/>
                <a:gd name="T37" fmla="*/ 81478 h 601"/>
                <a:gd name="T38" fmla="*/ 34818 w 400"/>
                <a:gd name="T39" fmla="*/ 84617 h 601"/>
                <a:gd name="T40" fmla="*/ 23545 w 400"/>
                <a:gd name="T41" fmla="*/ 85759 h 601"/>
                <a:gd name="T42" fmla="*/ 12414 w 400"/>
                <a:gd name="T43" fmla="*/ 84617 h 601"/>
                <a:gd name="T44" fmla="*/ 3282 w 400"/>
                <a:gd name="T45" fmla="*/ 82049 h 601"/>
                <a:gd name="T46" fmla="*/ 3853 w 400"/>
                <a:gd name="T47" fmla="*/ 65068 h 601"/>
                <a:gd name="T48" fmla="*/ 12985 w 400"/>
                <a:gd name="T49" fmla="*/ 68636 h 601"/>
                <a:gd name="T50" fmla="*/ 24544 w 400"/>
                <a:gd name="T51" fmla="*/ 70205 h 601"/>
                <a:gd name="T52" fmla="*/ 31964 w 400"/>
                <a:gd name="T53" fmla="*/ 69207 h 601"/>
                <a:gd name="T54" fmla="*/ 36387 w 400"/>
                <a:gd name="T55" fmla="*/ 65925 h 601"/>
                <a:gd name="T56" fmla="*/ 37814 w 400"/>
                <a:gd name="T57" fmla="*/ 61216 h 601"/>
                <a:gd name="T58" fmla="*/ 36387 w 400"/>
                <a:gd name="T59" fmla="*/ 56649 h 601"/>
                <a:gd name="T60" fmla="*/ 31964 w 400"/>
                <a:gd name="T61" fmla="*/ 52939 h 601"/>
                <a:gd name="T62" fmla="*/ 23830 w 400"/>
                <a:gd name="T63" fmla="*/ 49657 h 601"/>
                <a:gd name="T64" fmla="*/ 14555 w 400"/>
                <a:gd name="T65" fmla="*/ 45377 h 601"/>
                <a:gd name="T66" fmla="*/ 7135 w 400"/>
                <a:gd name="T67" fmla="*/ 39954 h 601"/>
                <a:gd name="T68" fmla="*/ 2569 w 400"/>
                <a:gd name="T69" fmla="*/ 33248 h 601"/>
                <a:gd name="T70" fmla="*/ 999 w 400"/>
                <a:gd name="T71" fmla="*/ 24971 h 601"/>
                <a:gd name="T72" fmla="*/ 2569 w 400"/>
                <a:gd name="T73" fmla="*/ 16124 h 601"/>
                <a:gd name="T74" fmla="*/ 7706 w 400"/>
                <a:gd name="T75" fmla="*/ 8704 h 601"/>
                <a:gd name="T76" fmla="*/ 15554 w 400"/>
                <a:gd name="T77" fmla="*/ 3282 h 601"/>
                <a:gd name="T78" fmla="*/ 26256 w 400"/>
                <a:gd name="T79" fmla="*/ 428 h 60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00" h="601">
                  <a:moveTo>
                    <a:pt x="227" y="0"/>
                  </a:moveTo>
                  <a:lnTo>
                    <a:pt x="265" y="2"/>
                  </a:lnTo>
                  <a:lnTo>
                    <a:pt x="298" y="6"/>
                  </a:lnTo>
                  <a:lnTo>
                    <a:pt x="328" y="12"/>
                  </a:lnTo>
                  <a:lnTo>
                    <a:pt x="354" y="21"/>
                  </a:lnTo>
                  <a:lnTo>
                    <a:pt x="376" y="29"/>
                  </a:lnTo>
                  <a:lnTo>
                    <a:pt x="346" y="135"/>
                  </a:lnTo>
                  <a:lnTo>
                    <a:pt x="330" y="128"/>
                  </a:lnTo>
                  <a:lnTo>
                    <a:pt x="311" y="121"/>
                  </a:lnTo>
                  <a:lnTo>
                    <a:pt x="286" y="114"/>
                  </a:lnTo>
                  <a:lnTo>
                    <a:pt x="258" y="109"/>
                  </a:lnTo>
                  <a:lnTo>
                    <a:pt x="225" y="107"/>
                  </a:lnTo>
                  <a:lnTo>
                    <a:pt x="200" y="109"/>
                  </a:lnTo>
                  <a:lnTo>
                    <a:pt x="179" y="116"/>
                  </a:lnTo>
                  <a:lnTo>
                    <a:pt x="161" y="124"/>
                  </a:lnTo>
                  <a:lnTo>
                    <a:pt x="150" y="135"/>
                  </a:lnTo>
                  <a:lnTo>
                    <a:pt x="143" y="149"/>
                  </a:lnTo>
                  <a:lnTo>
                    <a:pt x="140" y="164"/>
                  </a:lnTo>
                  <a:lnTo>
                    <a:pt x="144" y="181"/>
                  </a:lnTo>
                  <a:lnTo>
                    <a:pt x="151" y="195"/>
                  </a:lnTo>
                  <a:lnTo>
                    <a:pt x="166" y="208"/>
                  </a:lnTo>
                  <a:lnTo>
                    <a:pt x="187" y="221"/>
                  </a:lnTo>
                  <a:lnTo>
                    <a:pt x="214" y="233"/>
                  </a:lnTo>
                  <a:lnTo>
                    <a:pt x="249" y="245"/>
                  </a:lnTo>
                  <a:lnTo>
                    <a:pt x="290" y="264"/>
                  </a:lnTo>
                  <a:lnTo>
                    <a:pt x="324" y="282"/>
                  </a:lnTo>
                  <a:lnTo>
                    <a:pt x="351" y="304"/>
                  </a:lnTo>
                  <a:lnTo>
                    <a:pt x="372" y="329"/>
                  </a:lnTo>
                  <a:lnTo>
                    <a:pt x="387" y="356"/>
                  </a:lnTo>
                  <a:lnTo>
                    <a:pt x="397" y="386"/>
                  </a:lnTo>
                  <a:lnTo>
                    <a:pt x="400" y="419"/>
                  </a:lnTo>
                  <a:lnTo>
                    <a:pt x="397" y="446"/>
                  </a:lnTo>
                  <a:lnTo>
                    <a:pt x="392" y="471"/>
                  </a:lnTo>
                  <a:lnTo>
                    <a:pt x="382" y="495"/>
                  </a:lnTo>
                  <a:lnTo>
                    <a:pt x="370" y="517"/>
                  </a:lnTo>
                  <a:lnTo>
                    <a:pt x="353" y="538"/>
                  </a:lnTo>
                  <a:lnTo>
                    <a:pt x="332" y="555"/>
                  </a:lnTo>
                  <a:lnTo>
                    <a:pt x="306" y="571"/>
                  </a:lnTo>
                  <a:lnTo>
                    <a:pt x="277" y="583"/>
                  </a:lnTo>
                  <a:lnTo>
                    <a:pt x="244" y="593"/>
                  </a:lnTo>
                  <a:lnTo>
                    <a:pt x="207" y="598"/>
                  </a:lnTo>
                  <a:lnTo>
                    <a:pt x="165" y="601"/>
                  </a:lnTo>
                  <a:lnTo>
                    <a:pt x="125" y="598"/>
                  </a:lnTo>
                  <a:lnTo>
                    <a:pt x="87" y="593"/>
                  </a:lnTo>
                  <a:lnTo>
                    <a:pt x="53" y="585"/>
                  </a:lnTo>
                  <a:lnTo>
                    <a:pt x="23" y="575"/>
                  </a:lnTo>
                  <a:lnTo>
                    <a:pt x="0" y="565"/>
                  </a:lnTo>
                  <a:lnTo>
                    <a:pt x="27" y="456"/>
                  </a:lnTo>
                  <a:lnTo>
                    <a:pt x="56" y="470"/>
                  </a:lnTo>
                  <a:lnTo>
                    <a:pt x="91" y="481"/>
                  </a:lnTo>
                  <a:lnTo>
                    <a:pt x="130" y="490"/>
                  </a:lnTo>
                  <a:lnTo>
                    <a:pt x="172" y="492"/>
                  </a:lnTo>
                  <a:lnTo>
                    <a:pt x="201" y="491"/>
                  </a:lnTo>
                  <a:lnTo>
                    <a:pt x="224" y="485"/>
                  </a:lnTo>
                  <a:lnTo>
                    <a:pt x="242" y="475"/>
                  </a:lnTo>
                  <a:lnTo>
                    <a:pt x="255" y="462"/>
                  </a:lnTo>
                  <a:lnTo>
                    <a:pt x="263" y="448"/>
                  </a:lnTo>
                  <a:lnTo>
                    <a:pt x="265" y="429"/>
                  </a:lnTo>
                  <a:lnTo>
                    <a:pt x="263" y="412"/>
                  </a:lnTo>
                  <a:lnTo>
                    <a:pt x="255" y="397"/>
                  </a:lnTo>
                  <a:lnTo>
                    <a:pt x="243" y="383"/>
                  </a:lnTo>
                  <a:lnTo>
                    <a:pt x="224" y="371"/>
                  </a:lnTo>
                  <a:lnTo>
                    <a:pt x="200" y="360"/>
                  </a:lnTo>
                  <a:lnTo>
                    <a:pt x="167" y="348"/>
                  </a:lnTo>
                  <a:lnTo>
                    <a:pt x="133" y="334"/>
                  </a:lnTo>
                  <a:lnTo>
                    <a:pt x="102" y="318"/>
                  </a:lnTo>
                  <a:lnTo>
                    <a:pt x="74" y="301"/>
                  </a:lnTo>
                  <a:lnTo>
                    <a:pt x="50" y="280"/>
                  </a:lnTo>
                  <a:lnTo>
                    <a:pt x="32" y="258"/>
                  </a:lnTo>
                  <a:lnTo>
                    <a:pt x="18" y="233"/>
                  </a:lnTo>
                  <a:lnTo>
                    <a:pt x="9" y="206"/>
                  </a:lnTo>
                  <a:lnTo>
                    <a:pt x="7" y="175"/>
                  </a:lnTo>
                  <a:lnTo>
                    <a:pt x="9" y="143"/>
                  </a:lnTo>
                  <a:lnTo>
                    <a:pt x="18" y="113"/>
                  </a:lnTo>
                  <a:lnTo>
                    <a:pt x="33" y="85"/>
                  </a:lnTo>
                  <a:lnTo>
                    <a:pt x="54" y="61"/>
                  </a:lnTo>
                  <a:lnTo>
                    <a:pt x="79" y="40"/>
                  </a:lnTo>
                  <a:lnTo>
                    <a:pt x="109" y="23"/>
                  </a:lnTo>
                  <a:lnTo>
                    <a:pt x="144" y="11"/>
                  </a:lnTo>
                  <a:lnTo>
                    <a:pt x="184" y="3"/>
                  </a:lnTo>
                  <a:lnTo>
                    <a:pt x="2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4" name="Freeform 11"/>
            <p:cNvSpPr>
              <a:spLocks noEditPoints="1"/>
            </p:cNvSpPr>
            <p:nvPr/>
          </p:nvSpPr>
          <p:spPr bwMode="auto">
            <a:xfrm>
              <a:off x="11345609" y="381720"/>
              <a:ext cx="19835" cy="86616"/>
            </a:xfrm>
            <a:custGeom>
              <a:avLst/>
              <a:gdLst>
                <a:gd name="T0" fmla="*/ 428 w 139"/>
                <a:gd name="T1" fmla="*/ 26256 h 607"/>
                <a:gd name="T2" fmla="*/ 19264 w 139"/>
                <a:gd name="T3" fmla="*/ 26256 h 607"/>
                <a:gd name="T4" fmla="*/ 19264 w 139"/>
                <a:gd name="T5" fmla="*/ 86616 h 607"/>
                <a:gd name="T6" fmla="*/ 428 w 139"/>
                <a:gd name="T7" fmla="*/ 86616 h 607"/>
                <a:gd name="T8" fmla="*/ 428 w 139"/>
                <a:gd name="T9" fmla="*/ 26256 h 607"/>
                <a:gd name="T10" fmla="*/ 9846 w 139"/>
                <a:gd name="T11" fmla="*/ 0 h 607"/>
                <a:gd name="T12" fmla="*/ 12700 w 139"/>
                <a:gd name="T13" fmla="*/ 285 h 607"/>
                <a:gd name="T14" fmla="*/ 15126 w 139"/>
                <a:gd name="T15" fmla="*/ 1427 h 607"/>
                <a:gd name="T16" fmla="*/ 17124 w 139"/>
                <a:gd name="T17" fmla="*/ 2854 h 607"/>
                <a:gd name="T18" fmla="*/ 18551 w 139"/>
                <a:gd name="T19" fmla="*/ 4709 h 607"/>
                <a:gd name="T20" fmla="*/ 19407 w 139"/>
                <a:gd name="T21" fmla="*/ 6849 h 607"/>
                <a:gd name="T22" fmla="*/ 19835 w 139"/>
                <a:gd name="T23" fmla="*/ 9418 h 607"/>
                <a:gd name="T24" fmla="*/ 19550 w 139"/>
                <a:gd name="T25" fmla="*/ 11986 h 607"/>
                <a:gd name="T26" fmla="*/ 18551 w 139"/>
                <a:gd name="T27" fmla="*/ 14270 h 607"/>
                <a:gd name="T28" fmla="*/ 17124 w 139"/>
                <a:gd name="T29" fmla="*/ 15982 h 607"/>
                <a:gd name="T30" fmla="*/ 15126 w 139"/>
                <a:gd name="T31" fmla="*/ 17552 h 607"/>
                <a:gd name="T32" fmla="*/ 12700 w 139"/>
                <a:gd name="T33" fmla="*/ 18408 h 607"/>
                <a:gd name="T34" fmla="*/ 9703 w 139"/>
                <a:gd name="T35" fmla="*/ 18836 h 607"/>
                <a:gd name="T36" fmla="*/ 6849 w 139"/>
                <a:gd name="T37" fmla="*/ 18408 h 607"/>
                <a:gd name="T38" fmla="*/ 4566 w 139"/>
                <a:gd name="T39" fmla="*/ 17552 h 607"/>
                <a:gd name="T40" fmla="*/ 2711 w 139"/>
                <a:gd name="T41" fmla="*/ 15982 h 607"/>
                <a:gd name="T42" fmla="*/ 1142 w 139"/>
                <a:gd name="T43" fmla="*/ 14270 h 607"/>
                <a:gd name="T44" fmla="*/ 285 w 139"/>
                <a:gd name="T45" fmla="*/ 11986 h 607"/>
                <a:gd name="T46" fmla="*/ 0 w 139"/>
                <a:gd name="T47" fmla="*/ 9418 h 607"/>
                <a:gd name="T48" fmla="*/ 285 w 139"/>
                <a:gd name="T49" fmla="*/ 6849 h 607"/>
                <a:gd name="T50" fmla="*/ 1284 w 139"/>
                <a:gd name="T51" fmla="*/ 4709 h 607"/>
                <a:gd name="T52" fmla="*/ 2711 w 139"/>
                <a:gd name="T53" fmla="*/ 2854 h 607"/>
                <a:gd name="T54" fmla="*/ 4566 w 139"/>
                <a:gd name="T55" fmla="*/ 1427 h 607"/>
                <a:gd name="T56" fmla="*/ 7135 w 139"/>
                <a:gd name="T57" fmla="*/ 285 h 607"/>
                <a:gd name="T58" fmla="*/ 9846 w 139"/>
                <a:gd name="T59" fmla="*/ 0 h 60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9" h="607">
                  <a:moveTo>
                    <a:pt x="3" y="184"/>
                  </a:moveTo>
                  <a:lnTo>
                    <a:pt x="135" y="184"/>
                  </a:lnTo>
                  <a:lnTo>
                    <a:pt x="135" y="607"/>
                  </a:lnTo>
                  <a:lnTo>
                    <a:pt x="3" y="607"/>
                  </a:lnTo>
                  <a:lnTo>
                    <a:pt x="3" y="184"/>
                  </a:lnTo>
                  <a:close/>
                  <a:moveTo>
                    <a:pt x="69" y="0"/>
                  </a:moveTo>
                  <a:lnTo>
                    <a:pt x="89" y="2"/>
                  </a:lnTo>
                  <a:lnTo>
                    <a:pt x="106" y="10"/>
                  </a:lnTo>
                  <a:lnTo>
                    <a:pt x="120" y="20"/>
                  </a:lnTo>
                  <a:lnTo>
                    <a:pt x="130" y="33"/>
                  </a:lnTo>
                  <a:lnTo>
                    <a:pt x="136" y="48"/>
                  </a:lnTo>
                  <a:lnTo>
                    <a:pt x="139" y="66"/>
                  </a:lnTo>
                  <a:lnTo>
                    <a:pt x="137" y="84"/>
                  </a:lnTo>
                  <a:lnTo>
                    <a:pt x="130" y="100"/>
                  </a:lnTo>
                  <a:lnTo>
                    <a:pt x="120" y="112"/>
                  </a:lnTo>
                  <a:lnTo>
                    <a:pt x="106" y="123"/>
                  </a:lnTo>
                  <a:lnTo>
                    <a:pt x="89" y="129"/>
                  </a:lnTo>
                  <a:lnTo>
                    <a:pt x="68" y="132"/>
                  </a:lnTo>
                  <a:lnTo>
                    <a:pt x="48" y="129"/>
                  </a:lnTo>
                  <a:lnTo>
                    <a:pt x="32" y="123"/>
                  </a:lnTo>
                  <a:lnTo>
                    <a:pt x="19" y="112"/>
                  </a:lnTo>
                  <a:lnTo>
                    <a:pt x="8" y="100"/>
                  </a:lnTo>
                  <a:lnTo>
                    <a:pt x="2" y="84"/>
                  </a:lnTo>
                  <a:lnTo>
                    <a:pt x="0" y="66"/>
                  </a:lnTo>
                  <a:lnTo>
                    <a:pt x="2" y="48"/>
                  </a:lnTo>
                  <a:lnTo>
                    <a:pt x="9" y="33"/>
                  </a:lnTo>
                  <a:lnTo>
                    <a:pt x="19" y="20"/>
                  </a:lnTo>
                  <a:lnTo>
                    <a:pt x="32" y="10"/>
                  </a:lnTo>
                  <a:lnTo>
                    <a:pt x="50" y="2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5" name="Freeform 12"/>
            <p:cNvSpPr>
              <a:spLocks/>
            </p:cNvSpPr>
            <p:nvPr/>
          </p:nvSpPr>
          <p:spPr bwMode="auto">
            <a:xfrm>
              <a:off x="11379428" y="406549"/>
              <a:ext cx="37529" cy="61787"/>
            </a:xfrm>
            <a:custGeom>
              <a:avLst/>
              <a:gdLst>
                <a:gd name="T0" fmla="*/ 33534 w 263"/>
                <a:gd name="T1" fmla="*/ 0 h 433"/>
                <a:gd name="T2" fmla="*/ 35103 w 263"/>
                <a:gd name="T3" fmla="*/ 0 h 433"/>
                <a:gd name="T4" fmla="*/ 36387 w 263"/>
                <a:gd name="T5" fmla="*/ 143 h 433"/>
                <a:gd name="T6" fmla="*/ 37529 w 263"/>
                <a:gd name="T7" fmla="*/ 285 h 433"/>
                <a:gd name="T8" fmla="*/ 37529 w 263"/>
                <a:gd name="T9" fmla="*/ 17980 h 433"/>
                <a:gd name="T10" fmla="*/ 35246 w 263"/>
                <a:gd name="T11" fmla="*/ 17552 h 433"/>
                <a:gd name="T12" fmla="*/ 32392 w 263"/>
                <a:gd name="T13" fmla="*/ 17409 h 433"/>
                <a:gd name="T14" fmla="*/ 29253 w 263"/>
                <a:gd name="T15" fmla="*/ 17694 h 433"/>
                <a:gd name="T16" fmla="*/ 26256 w 263"/>
                <a:gd name="T17" fmla="*/ 18693 h 433"/>
                <a:gd name="T18" fmla="*/ 23973 w 263"/>
                <a:gd name="T19" fmla="*/ 20120 h 433"/>
                <a:gd name="T20" fmla="*/ 21832 w 263"/>
                <a:gd name="T21" fmla="*/ 21975 h 433"/>
                <a:gd name="T22" fmla="*/ 20548 w 263"/>
                <a:gd name="T23" fmla="*/ 24258 h 433"/>
                <a:gd name="T24" fmla="*/ 19549 w 263"/>
                <a:gd name="T25" fmla="*/ 26969 h 433"/>
                <a:gd name="T26" fmla="*/ 19407 w 263"/>
                <a:gd name="T27" fmla="*/ 28967 h 433"/>
                <a:gd name="T28" fmla="*/ 19264 w 263"/>
                <a:gd name="T29" fmla="*/ 31108 h 433"/>
                <a:gd name="T30" fmla="*/ 19264 w 263"/>
                <a:gd name="T31" fmla="*/ 61787 h 433"/>
                <a:gd name="T32" fmla="*/ 428 w 263"/>
                <a:gd name="T33" fmla="*/ 61787 h 433"/>
                <a:gd name="T34" fmla="*/ 428 w 263"/>
                <a:gd name="T35" fmla="*/ 21262 h 433"/>
                <a:gd name="T36" fmla="*/ 428 w 263"/>
                <a:gd name="T37" fmla="*/ 15126 h 433"/>
                <a:gd name="T38" fmla="*/ 428 w 263"/>
                <a:gd name="T39" fmla="*/ 9989 h 433"/>
                <a:gd name="T40" fmla="*/ 285 w 263"/>
                <a:gd name="T41" fmla="*/ 5422 h 433"/>
                <a:gd name="T42" fmla="*/ 0 w 263"/>
                <a:gd name="T43" fmla="*/ 1427 h 433"/>
                <a:gd name="T44" fmla="*/ 16125 w 263"/>
                <a:gd name="T45" fmla="*/ 1427 h 433"/>
                <a:gd name="T46" fmla="*/ 16838 w 263"/>
                <a:gd name="T47" fmla="*/ 12414 h 433"/>
                <a:gd name="T48" fmla="*/ 17266 w 263"/>
                <a:gd name="T49" fmla="*/ 12414 h 433"/>
                <a:gd name="T50" fmla="*/ 18836 w 263"/>
                <a:gd name="T51" fmla="*/ 8990 h 433"/>
                <a:gd name="T52" fmla="*/ 20834 w 263"/>
                <a:gd name="T53" fmla="*/ 6136 h 433"/>
                <a:gd name="T54" fmla="*/ 23117 w 263"/>
                <a:gd name="T55" fmla="*/ 3853 h 433"/>
                <a:gd name="T56" fmla="*/ 25543 w 263"/>
                <a:gd name="T57" fmla="*/ 2140 h 433"/>
                <a:gd name="T58" fmla="*/ 28254 w 263"/>
                <a:gd name="T59" fmla="*/ 856 h 433"/>
                <a:gd name="T60" fmla="*/ 31108 w 263"/>
                <a:gd name="T61" fmla="*/ 143 h 433"/>
                <a:gd name="T62" fmla="*/ 33534 w 263"/>
                <a:gd name="T63" fmla="*/ 0 h 4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3" h="433">
                  <a:moveTo>
                    <a:pt x="235" y="0"/>
                  </a:moveTo>
                  <a:lnTo>
                    <a:pt x="246" y="0"/>
                  </a:lnTo>
                  <a:lnTo>
                    <a:pt x="255" y="1"/>
                  </a:lnTo>
                  <a:lnTo>
                    <a:pt x="263" y="2"/>
                  </a:lnTo>
                  <a:lnTo>
                    <a:pt x="263" y="126"/>
                  </a:lnTo>
                  <a:lnTo>
                    <a:pt x="247" y="123"/>
                  </a:lnTo>
                  <a:lnTo>
                    <a:pt x="227" y="122"/>
                  </a:lnTo>
                  <a:lnTo>
                    <a:pt x="205" y="124"/>
                  </a:lnTo>
                  <a:lnTo>
                    <a:pt x="184" y="131"/>
                  </a:lnTo>
                  <a:lnTo>
                    <a:pt x="168" y="141"/>
                  </a:lnTo>
                  <a:lnTo>
                    <a:pt x="153" y="154"/>
                  </a:lnTo>
                  <a:lnTo>
                    <a:pt x="144" y="170"/>
                  </a:lnTo>
                  <a:lnTo>
                    <a:pt x="137" y="189"/>
                  </a:lnTo>
                  <a:lnTo>
                    <a:pt x="136" y="203"/>
                  </a:lnTo>
                  <a:lnTo>
                    <a:pt x="135" y="218"/>
                  </a:lnTo>
                  <a:lnTo>
                    <a:pt x="135" y="433"/>
                  </a:lnTo>
                  <a:lnTo>
                    <a:pt x="3" y="433"/>
                  </a:lnTo>
                  <a:lnTo>
                    <a:pt x="3" y="149"/>
                  </a:lnTo>
                  <a:lnTo>
                    <a:pt x="3" y="106"/>
                  </a:lnTo>
                  <a:lnTo>
                    <a:pt x="3" y="70"/>
                  </a:lnTo>
                  <a:lnTo>
                    <a:pt x="2" y="38"/>
                  </a:lnTo>
                  <a:lnTo>
                    <a:pt x="0" y="10"/>
                  </a:lnTo>
                  <a:lnTo>
                    <a:pt x="113" y="10"/>
                  </a:lnTo>
                  <a:lnTo>
                    <a:pt x="118" y="87"/>
                  </a:lnTo>
                  <a:lnTo>
                    <a:pt x="121" y="87"/>
                  </a:lnTo>
                  <a:lnTo>
                    <a:pt x="132" y="63"/>
                  </a:lnTo>
                  <a:lnTo>
                    <a:pt x="146" y="43"/>
                  </a:lnTo>
                  <a:lnTo>
                    <a:pt x="162" y="27"/>
                  </a:lnTo>
                  <a:lnTo>
                    <a:pt x="179" y="15"/>
                  </a:lnTo>
                  <a:lnTo>
                    <a:pt x="198" y="6"/>
                  </a:lnTo>
                  <a:lnTo>
                    <a:pt x="218" y="1"/>
                  </a:lnTo>
                  <a:lnTo>
                    <a:pt x="23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6" name="Freeform 13"/>
            <p:cNvSpPr>
              <a:spLocks noEditPoints="1"/>
            </p:cNvSpPr>
            <p:nvPr/>
          </p:nvSpPr>
          <p:spPr bwMode="auto">
            <a:xfrm>
              <a:off x="11426375" y="381720"/>
              <a:ext cx="19835" cy="86616"/>
            </a:xfrm>
            <a:custGeom>
              <a:avLst/>
              <a:gdLst>
                <a:gd name="T0" fmla="*/ 428 w 139"/>
                <a:gd name="T1" fmla="*/ 26256 h 607"/>
                <a:gd name="T2" fmla="*/ 19122 w 139"/>
                <a:gd name="T3" fmla="*/ 26256 h 607"/>
                <a:gd name="T4" fmla="*/ 19122 w 139"/>
                <a:gd name="T5" fmla="*/ 86616 h 607"/>
                <a:gd name="T6" fmla="*/ 428 w 139"/>
                <a:gd name="T7" fmla="*/ 86616 h 607"/>
                <a:gd name="T8" fmla="*/ 428 w 139"/>
                <a:gd name="T9" fmla="*/ 26256 h 607"/>
                <a:gd name="T10" fmla="*/ 9989 w 139"/>
                <a:gd name="T11" fmla="*/ 0 h 607"/>
                <a:gd name="T12" fmla="*/ 12843 w 139"/>
                <a:gd name="T13" fmla="*/ 285 h 607"/>
                <a:gd name="T14" fmla="*/ 15269 w 139"/>
                <a:gd name="T15" fmla="*/ 1427 h 607"/>
                <a:gd name="T16" fmla="*/ 17266 w 139"/>
                <a:gd name="T17" fmla="*/ 2854 h 607"/>
                <a:gd name="T18" fmla="*/ 18693 w 139"/>
                <a:gd name="T19" fmla="*/ 4709 h 607"/>
                <a:gd name="T20" fmla="*/ 19550 w 139"/>
                <a:gd name="T21" fmla="*/ 6849 h 607"/>
                <a:gd name="T22" fmla="*/ 19835 w 139"/>
                <a:gd name="T23" fmla="*/ 9418 h 607"/>
                <a:gd name="T24" fmla="*/ 19550 w 139"/>
                <a:gd name="T25" fmla="*/ 11986 h 607"/>
                <a:gd name="T26" fmla="*/ 18693 w 139"/>
                <a:gd name="T27" fmla="*/ 14270 h 607"/>
                <a:gd name="T28" fmla="*/ 17266 w 139"/>
                <a:gd name="T29" fmla="*/ 15982 h 607"/>
                <a:gd name="T30" fmla="*/ 15126 w 139"/>
                <a:gd name="T31" fmla="*/ 17552 h 607"/>
                <a:gd name="T32" fmla="*/ 12700 w 139"/>
                <a:gd name="T33" fmla="*/ 18408 h 607"/>
                <a:gd name="T34" fmla="*/ 9703 w 139"/>
                <a:gd name="T35" fmla="*/ 18836 h 607"/>
                <a:gd name="T36" fmla="*/ 6992 w 139"/>
                <a:gd name="T37" fmla="*/ 18408 h 607"/>
                <a:gd name="T38" fmla="*/ 4566 w 139"/>
                <a:gd name="T39" fmla="*/ 17552 h 607"/>
                <a:gd name="T40" fmla="*/ 2569 w 139"/>
                <a:gd name="T41" fmla="*/ 15982 h 607"/>
                <a:gd name="T42" fmla="*/ 1142 w 139"/>
                <a:gd name="T43" fmla="*/ 14270 h 607"/>
                <a:gd name="T44" fmla="*/ 285 w 139"/>
                <a:gd name="T45" fmla="*/ 11986 h 607"/>
                <a:gd name="T46" fmla="*/ 0 w 139"/>
                <a:gd name="T47" fmla="*/ 9418 h 607"/>
                <a:gd name="T48" fmla="*/ 285 w 139"/>
                <a:gd name="T49" fmla="*/ 6849 h 607"/>
                <a:gd name="T50" fmla="*/ 1142 w 139"/>
                <a:gd name="T51" fmla="*/ 4709 h 607"/>
                <a:gd name="T52" fmla="*/ 2711 w 139"/>
                <a:gd name="T53" fmla="*/ 2854 h 607"/>
                <a:gd name="T54" fmla="*/ 4709 w 139"/>
                <a:gd name="T55" fmla="*/ 1427 h 607"/>
                <a:gd name="T56" fmla="*/ 7135 w 139"/>
                <a:gd name="T57" fmla="*/ 285 h 607"/>
                <a:gd name="T58" fmla="*/ 9989 w 139"/>
                <a:gd name="T59" fmla="*/ 0 h 60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39" h="607">
                  <a:moveTo>
                    <a:pt x="3" y="184"/>
                  </a:moveTo>
                  <a:lnTo>
                    <a:pt x="134" y="184"/>
                  </a:lnTo>
                  <a:lnTo>
                    <a:pt x="134" y="607"/>
                  </a:lnTo>
                  <a:lnTo>
                    <a:pt x="3" y="607"/>
                  </a:lnTo>
                  <a:lnTo>
                    <a:pt x="3" y="184"/>
                  </a:lnTo>
                  <a:close/>
                  <a:moveTo>
                    <a:pt x="70" y="0"/>
                  </a:moveTo>
                  <a:lnTo>
                    <a:pt x="90" y="2"/>
                  </a:lnTo>
                  <a:lnTo>
                    <a:pt x="107" y="10"/>
                  </a:lnTo>
                  <a:lnTo>
                    <a:pt x="121" y="20"/>
                  </a:lnTo>
                  <a:lnTo>
                    <a:pt x="131" y="33"/>
                  </a:lnTo>
                  <a:lnTo>
                    <a:pt x="137" y="48"/>
                  </a:lnTo>
                  <a:lnTo>
                    <a:pt x="139" y="66"/>
                  </a:lnTo>
                  <a:lnTo>
                    <a:pt x="137" y="84"/>
                  </a:lnTo>
                  <a:lnTo>
                    <a:pt x="131" y="100"/>
                  </a:lnTo>
                  <a:lnTo>
                    <a:pt x="121" y="112"/>
                  </a:lnTo>
                  <a:lnTo>
                    <a:pt x="106" y="123"/>
                  </a:lnTo>
                  <a:lnTo>
                    <a:pt x="89" y="129"/>
                  </a:lnTo>
                  <a:lnTo>
                    <a:pt x="68" y="132"/>
                  </a:lnTo>
                  <a:lnTo>
                    <a:pt x="49" y="129"/>
                  </a:lnTo>
                  <a:lnTo>
                    <a:pt x="32" y="123"/>
                  </a:lnTo>
                  <a:lnTo>
                    <a:pt x="18" y="112"/>
                  </a:lnTo>
                  <a:lnTo>
                    <a:pt x="8" y="100"/>
                  </a:lnTo>
                  <a:lnTo>
                    <a:pt x="2" y="84"/>
                  </a:lnTo>
                  <a:lnTo>
                    <a:pt x="0" y="66"/>
                  </a:lnTo>
                  <a:lnTo>
                    <a:pt x="2" y="48"/>
                  </a:lnTo>
                  <a:lnTo>
                    <a:pt x="8" y="33"/>
                  </a:lnTo>
                  <a:lnTo>
                    <a:pt x="19" y="20"/>
                  </a:lnTo>
                  <a:lnTo>
                    <a:pt x="33" y="10"/>
                  </a:lnTo>
                  <a:lnTo>
                    <a:pt x="50" y="2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7" name="Freeform 14"/>
            <p:cNvSpPr>
              <a:spLocks noEditPoints="1"/>
            </p:cNvSpPr>
            <p:nvPr/>
          </p:nvSpPr>
          <p:spPr bwMode="auto">
            <a:xfrm>
              <a:off x="11457197" y="406549"/>
              <a:ext cx="63214" cy="63214"/>
            </a:xfrm>
            <a:custGeom>
              <a:avLst/>
              <a:gdLst>
                <a:gd name="T0" fmla="*/ 28682 w 443"/>
                <a:gd name="T1" fmla="*/ 13699 h 443"/>
                <a:gd name="T2" fmla="*/ 23973 w 443"/>
                <a:gd name="T3" fmla="*/ 16695 h 443"/>
                <a:gd name="T4" fmla="*/ 20976 w 443"/>
                <a:gd name="T5" fmla="*/ 21832 h 443"/>
                <a:gd name="T6" fmla="*/ 19549 w 443"/>
                <a:gd name="T7" fmla="*/ 28111 h 443"/>
                <a:gd name="T8" fmla="*/ 19692 w 443"/>
                <a:gd name="T9" fmla="*/ 35674 h 443"/>
                <a:gd name="T10" fmla="*/ 21832 w 443"/>
                <a:gd name="T11" fmla="*/ 42951 h 443"/>
                <a:gd name="T12" fmla="*/ 25828 w 443"/>
                <a:gd name="T13" fmla="*/ 47946 h 443"/>
                <a:gd name="T14" fmla="*/ 31821 w 443"/>
                <a:gd name="T15" fmla="*/ 49658 h 443"/>
                <a:gd name="T16" fmla="*/ 37243 w 443"/>
                <a:gd name="T17" fmla="*/ 48088 h 443"/>
                <a:gd name="T18" fmla="*/ 41382 w 443"/>
                <a:gd name="T19" fmla="*/ 43237 h 443"/>
                <a:gd name="T20" fmla="*/ 43522 w 443"/>
                <a:gd name="T21" fmla="*/ 35959 h 443"/>
                <a:gd name="T22" fmla="*/ 43665 w 443"/>
                <a:gd name="T23" fmla="*/ 28111 h 443"/>
                <a:gd name="T24" fmla="*/ 42238 w 443"/>
                <a:gd name="T25" fmla="*/ 21832 h 443"/>
                <a:gd name="T26" fmla="*/ 39241 w 443"/>
                <a:gd name="T27" fmla="*/ 16695 h 443"/>
                <a:gd name="T28" fmla="*/ 34675 w 443"/>
                <a:gd name="T29" fmla="*/ 13699 h 443"/>
                <a:gd name="T30" fmla="*/ 32392 w 443"/>
                <a:gd name="T31" fmla="*/ 0 h 443"/>
                <a:gd name="T32" fmla="*/ 43665 w 443"/>
                <a:gd name="T33" fmla="*/ 1712 h 443"/>
                <a:gd name="T34" fmla="*/ 52797 w 443"/>
                <a:gd name="T35" fmla="*/ 6849 h 443"/>
                <a:gd name="T36" fmla="*/ 59361 w 443"/>
                <a:gd name="T37" fmla="*/ 14840 h 443"/>
                <a:gd name="T38" fmla="*/ 62643 w 443"/>
                <a:gd name="T39" fmla="*/ 24972 h 443"/>
                <a:gd name="T40" fmla="*/ 62786 w 443"/>
                <a:gd name="T41" fmla="*/ 36673 h 443"/>
                <a:gd name="T42" fmla="*/ 60075 w 443"/>
                <a:gd name="T43" fmla="*/ 46233 h 443"/>
                <a:gd name="T44" fmla="*/ 54938 w 443"/>
                <a:gd name="T45" fmla="*/ 53796 h 443"/>
                <a:gd name="T46" fmla="*/ 48088 w 443"/>
                <a:gd name="T47" fmla="*/ 58933 h 443"/>
                <a:gd name="T48" fmla="*/ 39955 w 443"/>
                <a:gd name="T49" fmla="*/ 62072 h 443"/>
                <a:gd name="T50" fmla="*/ 31250 w 443"/>
                <a:gd name="T51" fmla="*/ 63214 h 443"/>
                <a:gd name="T52" fmla="*/ 21262 w 443"/>
                <a:gd name="T53" fmla="*/ 61787 h 443"/>
                <a:gd name="T54" fmla="*/ 12700 w 443"/>
                <a:gd name="T55" fmla="*/ 57792 h 443"/>
                <a:gd name="T56" fmla="*/ 5993 w 443"/>
                <a:gd name="T57" fmla="*/ 51370 h 443"/>
                <a:gd name="T58" fmla="*/ 1570 w 443"/>
                <a:gd name="T59" fmla="*/ 42809 h 443"/>
                <a:gd name="T60" fmla="*/ 0 w 443"/>
                <a:gd name="T61" fmla="*/ 31964 h 443"/>
                <a:gd name="T62" fmla="*/ 1570 w 443"/>
                <a:gd name="T63" fmla="*/ 21119 h 443"/>
                <a:gd name="T64" fmla="*/ 5708 w 443"/>
                <a:gd name="T65" fmla="*/ 12272 h 443"/>
                <a:gd name="T66" fmla="*/ 12700 w 443"/>
                <a:gd name="T67" fmla="*/ 5565 h 443"/>
                <a:gd name="T68" fmla="*/ 21404 w 443"/>
                <a:gd name="T69" fmla="*/ 1427 h 443"/>
                <a:gd name="T70" fmla="*/ 32392 w 443"/>
                <a:gd name="T71" fmla="*/ 0 h 44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443" h="443">
                  <a:moveTo>
                    <a:pt x="223" y="94"/>
                  </a:moveTo>
                  <a:lnTo>
                    <a:pt x="201" y="96"/>
                  </a:lnTo>
                  <a:lnTo>
                    <a:pt x="182" y="105"/>
                  </a:lnTo>
                  <a:lnTo>
                    <a:pt x="168" y="117"/>
                  </a:lnTo>
                  <a:lnTo>
                    <a:pt x="157" y="134"/>
                  </a:lnTo>
                  <a:lnTo>
                    <a:pt x="147" y="153"/>
                  </a:lnTo>
                  <a:lnTo>
                    <a:pt x="140" y="175"/>
                  </a:lnTo>
                  <a:lnTo>
                    <a:pt x="137" y="197"/>
                  </a:lnTo>
                  <a:lnTo>
                    <a:pt x="136" y="221"/>
                  </a:lnTo>
                  <a:lnTo>
                    <a:pt x="138" y="250"/>
                  </a:lnTo>
                  <a:lnTo>
                    <a:pt x="143" y="278"/>
                  </a:lnTo>
                  <a:lnTo>
                    <a:pt x="153" y="301"/>
                  </a:lnTo>
                  <a:lnTo>
                    <a:pt x="165" y="321"/>
                  </a:lnTo>
                  <a:lnTo>
                    <a:pt x="181" y="336"/>
                  </a:lnTo>
                  <a:lnTo>
                    <a:pt x="200" y="345"/>
                  </a:lnTo>
                  <a:lnTo>
                    <a:pt x="223" y="348"/>
                  </a:lnTo>
                  <a:lnTo>
                    <a:pt x="244" y="345"/>
                  </a:lnTo>
                  <a:lnTo>
                    <a:pt x="261" y="337"/>
                  </a:lnTo>
                  <a:lnTo>
                    <a:pt x="278" y="322"/>
                  </a:lnTo>
                  <a:lnTo>
                    <a:pt x="290" y="303"/>
                  </a:lnTo>
                  <a:lnTo>
                    <a:pt x="299" y="279"/>
                  </a:lnTo>
                  <a:lnTo>
                    <a:pt x="305" y="252"/>
                  </a:lnTo>
                  <a:lnTo>
                    <a:pt x="307" y="220"/>
                  </a:lnTo>
                  <a:lnTo>
                    <a:pt x="306" y="197"/>
                  </a:lnTo>
                  <a:lnTo>
                    <a:pt x="302" y="174"/>
                  </a:lnTo>
                  <a:lnTo>
                    <a:pt x="296" y="153"/>
                  </a:lnTo>
                  <a:lnTo>
                    <a:pt x="287" y="133"/>
                  </a:lnTo>
                  <a:lnTo>
                    <a:pt x="275" y="117"/>
                  </a:lnTo>
                  <a:lnTo>
                    <a:pt x="261" y="105"/>
                  </a:lnTo>
                  <a:lnTo>
                    <a:pt x="243" y="96"/>
                  </a:lnTo>
                  <a:lnTo>
                    <a:pt x="223" y="94"/>
                  </a:lnTo>
                  <a:close/>
                  <a:moveTo>
                    <a:pt x="227" y="0"/>
                  </a:moveTo>
                  <a:lnTo>
                    <a:pt x="269" y="2"/>
                  </a:lnTo>
                  <a:lnTo>
                    <a:pt x="306" y="12"/>
                  </a:lnTo>
                  <a:lnTo>
                    <a:pt x="340" y="27"/>
                  </a:lnTo>
                  <a:lnTo>
                    <a:pt x="370" y="48"/>
                  </a:lnTo>
                  <a:lnTo>
                    <a:pt x="395" y="74"/>
                  </a:lnTo>
                  <a:lnTo>
                    <a:pt x="416" y="104"/>
                  </a:lnTo>
                  <a:lnTo>
                    <a:pt x="431" y="138"/>
                  </a:lnTo>
                  <a:lnTo>
                    <a:pt x="439" y="175"/>
                  </a:lnTo>
                  <a:lnTo>
                    <a:pt x="443" y="217"/>
                  </a:lnTo>
                  <a:lnTo>
                    <a:pt x="440" y="257"/>
                  </a:lnTo>
                  <a:lnTo>
                    <a:pt x="432" y="292"/>
                  </a:lnTo>
                  <a:lnTo>
                    <a:pt x="421" y="324"/>
                  </a:lnTo>
                  <a:lnTo>
                    <a:pt x="403" y="353"/>
                  </a:lnTo>
                  <a:lnTo>
                    <a:pt x="385" y="377"/>
                  </a:lnTo>
                  <a:lnTo>
                    <a:pt x="361" y="397"/>
                  </a:lnTo>
                  <a:lnTo>
                    <a:pt x="337" y="413"/>
                  </a:lnTo>
                  <a:lnTo>
                    <a:pt x="310" y="427"/>
                  </a:lnTo>
                  <a:lnTo>
                    <a:pt x="280" y="435"/>
                  </a:lnTo>
                  <a:lnTo>
                    <a:pt x="250" y="440"/>
                  </a:lnTo>
                  <a:lnTo>
                    <a:pt x="219" y="443"/>
                  </a:lnTo>
                  <a:lnTo>
                    <a:pt x="182" y="440"/>
                  </a:lnTo>
                  <a:lnTo>
                    <a:pt x="149" y="433"/>
                  </a:lnTo>
                  <a:lnTo>
                    <a:pt x="117" y="421"/>
                  </a:lnTo>
                  <a:lnTo>
                    <a:pt x="89" y="405"/>
                  </a:lnTo>
                  <a:lnTo>
                    <a:pt x="63" y="385"/>
                  </a:lnTo>
                  <a:lnTo>
                    <a:pt x="42" y="360"/>
                  </a:lnTo>
                  <a:lnTo>
                    <a:pt x="24" y="332"/>
                  </a:lnTo>
                  <a:lnTo>
                    <a:pt x="11" y="300"/>
                  </a:lnTo>
                  <a:lnTo>
                    <a:pt x="3" y="264"/>
                  </a:lnTo>
                  <a:lnTo>
                    <a:pt x="0" y="224"/>
                  </a:lnTo>
                  <a:lnTo>
                    <a:pt x="3" y="185"/>
                  </a:lnTo>
                  <a:lnTo>
                    <a:pt x="11" y="148"/>
                  </a:lnTo>
                  <a:lnTo>
                    <a:pt x="23" y="115"/>
                  </a:lnTo>
                  <a:lnTo>
                    <a:pt x="40" y="86"/>
                  </a:lnTo>
                  <a:lnTo>
                    <a:pt x="63" y="60"/>
                  </a:lnTo>
                  <a:lnTo>
                    <a:pt x="89" y="39"/>
                  </a:lnTo>
                  <a:lnTo>
                    <a:pt x="118" y="22"/>
                  </a:lnTo>
                  <a:lnTo>
                    <a:pt x="150" y="10"/>
                  </a:lnTo>
                  <a:lnTo>
                    <a:pt x="187" y="2"/>
                  </a:lnTo>
                  <a:lnTo>
                    <a:pt x="2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8" name="Freeform 15"/>
            <p:cNvSpPr>
              <a:spLocks/>
            </p:cNvSpPr>
            <p:nvPr/>
          </p:nvSpPr>
          <p:spPr bwMode="auto">
            <a:xfrm>
              <a:off x="11531541" y="406549"/>
              <a:ext cx="57791" cy="61787"/>
            </a:xfrm>
            <a:custGeom>
              <a:avLst/>
              <a:gdLst>
                <a:gd name="T0" fmla="*/ 36102 w 405"/>
                <a:gd name="T1" fmla="*/ 0 h 433"/>
                <a:gd name="T2" fmla="*/ 40097 w 405"/>
                <a:gd name="T3" fmla="*/ 285 h 433"/>
                <a:gd name="T4" fmla="*/ 43807 w 405"/>
                <a:gd name="T5" fmla="*/ 1142 h 433"/>
                <a:gd name="T6" fmla="*/ 47232 w 405"/>
                <a:gd name="T7" fmla="*/ 2854 h 433"/>
                <a:gd name="T8" fmla="*/ 50228 w 405"/>
                <a:gd name="T9" fmla="*/ 5137 h 433"/>
                <a:gd name="T10" fmla="*/ 52797 w 405"/>
                <a:gd name="T11" fmla="*/ 7848 h 433"/>
                <a:gd name="T12" fmla="*/ 54937 w 405"/>
                <a:gd name="T13" fmla="*/ 11416 h 433"/>
                <a:gd name="T14" fmla="*/ 56364 w 405"/>
                <a:gd name="T15" fmla="*/ 15696 h 433"/>
                <a:gd name="T16" fmla="*/ 57363 w 405"/>
                <a:gd name="T17" fmla="*/ 20548 h 433"/>
                <a:gd name="T18" fmla="*/ 57791 w 405"/>
                <a:gd name="T19" fmla="*/ 25971 h 433"/>
                <a:gd name="T20" fmla="*/ 57791 w 405"/>
                <a:gd name="T21" fmla="*/ 61787 h 433"/>
                <a:gd name="T22" fmla="*/ 38955 w 405"/>
                <a:gd name="T23" fmla="*/ 61787 h 433"/>
                <a:gd name="T24" fmla="*/ 38955 w 405"/>
                <a:gd name="T25" fmla="*/ 28396 h 433"/>
                <a:gd name="T26" fmla="*/ 38670 w 405"/>
                <a:gd name="T27" fmla="*/ 25114 h 433"/>
                <a:gd name="T28" fmla="*/ 38242 w 405"/>
                <a:gd name="T29" fmla="*/ 22403 h 433"/>
                <a:gd name="T30" fmla="*/ 37243 w 405"/>
                <a:gd name="T31" fmla="*/ 19835 h 433"/>
                <a:gd name="T32" fmla="*/ 36102 w 405"/>
                <a:gd name="T33" fmla="*/ 17980 h 433"/>
                <a:gd name="T34" fmla="*/ 34247 w 405"/>
                <a:gd name="T35" fmla="*/ 16553 h 433"/>
                <a:gd name="T36" fmla="*/ 31963 w 405"/>
                <a:gd name="T37" fmla="*/ 15411 h 433"/>
                <a:gd name="T38" fmla="*/ 29395 w 405"/>
                <a:gd name="T39" fmla="*/ 15268 h 433"/>
                <a:gd name="T40" fmla="*/ 26541 w 405"/>
                <a:gd name="T41" fmla="*/ 15696 h 433"/>
                <a:gd name="T42" fmla="*/ 24258 w 405"/>
                <a:gd name="T43" fmla="*/ 16695 h 433"/>
                <a:gd name="T44" fmla="*/ 22403 w 405"/>
                <a:gd name="T45" fmla="*/ 18265 h 433"/>
                <a:gd name="T46" fmla="*/ 20691 w 405"/>
                <a:gd name="T47" fmla="*/ 20263 h 433"/>
                <a:gd name="T48" fmla="*/ 19834 w 405"/>
                <a:gd name="T49" fmla="*/ 22403 h 433"/>
                <a:gd name="T50" fmla="*/ 19406 w 405"/>
                <a:gd name="T51" fmla="*/ 24401 h 433"/>
                <a:gd name="T52" fmla="*/ 19121 w 405"/>
                <a:gd name="T53" fmla="*/ 26969 h 433"/>
                <a:gd name="T54" fmla="*/ 19121 w 405"/>
                <a:gd name="T55" fmla="*/ 61787 h 433"/>
                <a:gd name="T56" fmla="*/ 428 w 405"/>
                <a:gd name="T57" fmla="*/ 61787 h 433"/>
                <a:gd name="T58" fmla="*/ 428 w 405"/>
                <a:gd name="T59" fmla="*/ 20548 h 433"/>
                <a:gd name="T60" fmla="*/ 285 w 405"/>
                <a:gd name="T61" fmla="*/ 13556 h 433"/>
                <a:gd name="T62" fmla="*/ 143 w 405"/>
                <a:gd name="T63" fmla="*/ 7135 h 433"/>
                <a:gd name="T64" fmla="*/ 0 w 405"/>
                <a:gd name="T65" fmla="*/ 1427 h 433"/>
                <a:gd name="T66" fmla="*/ 16124 w 405"/>
                <a:gd name="T67" fmla="*/ 1427 h 433"/>
                <a:gd name="T68" fmla="*/ 16981 w 405"/>
                <a:gd name="T69" fmla="*/ 9846 h 433"/>
                <a:gd name="T70" fmla="*/ 17409 w 405"/>
                <a:gd name="T71" fmla="*/ 9846 h 433"/>
                <a:gd name="T72" fmla="*/ 18836 w 405"/>
                <a:gd name="T73" fmla="*/ 8134 h 433"/>
                <a:gd name="T74" fmla="*/ 20405 w 405"/>
                <a:gd name="T75" fmla="*/ 6136 h 433"/>
                <a:gd name="T76" fmla="*/ 22688 w 405"/>
                <a:gd name="T77" fmla="*/ 4424 h 433"/>
                <a:gd name="T78" fmla="*/ 25257 w 405"/>
                <a:gd name="T79" fmla="*/ 2569 h 433"/>
                <a:gd name="T80" fmla="*/ 28539 w 405"/>
                <a:gd name="T81" fmla="*/ 1142 h 433"/>
                <a:gd name="T82" fmla="*/ 31963 w 405"/>
                <a:gd name="T83" fmla="*/ 285 h 433"/>
                <a:gd name="T84" fmla="*/ 36102 w 405"/>
                <a:gd name="T85" fmla="*/ 0 h 4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405" h="433">
                  <a:moveTo>
                    <a:pt x="253" y="0"/>
                  </a:moveTo>
                  <a:lnTo>
                    <a:pt x="281" y="2"/>
                  </a:lnTo>
                  <a:lnTo>
                    <a:pt x="307" y="8"/>
                  </a:lnTo>
                  <a:lnTo>
                    <a:pt x="331" y="20"/>
                  </a:lnTo>
                  <a:lnTo>
                    <a:pt x="352" y="36"/>
                  </a:lnTo>
                  <a:lnTo>
                    <a:pt x="370" y="55"/>
                  </a:lnTo>
                  <a:lnTo>
                    <a:pt x="385" y="80"/>
                  </a:lnTo>
                  <a:lnTo>
                    <a:pt x="395" y="110"/>
                  </a:lnTo>
                  <a:lnTo>
                    <a:pt x="402" y="144"/>
                  </a:lnTo>
                  <a:lnTo>
                    <a:pt x="405" y="182"/>
                  </a:lnTo>
                  <a:lnTo>
                    <a:pt x="405" y="433"/>
                  </a:lnTo>
                  <a:lnTo>
                    <a:pt x="273" y="433"/>
                  </a:lnTo>
                  <a:lnTo>
                    <a:pt x="273" y="199"/>
                  </a:lnTo>
                  <a:lnTo>
                    <a:pt x="271" y="176"/>
                  </a:lnTo>
                  <a:lnTo>
                    <a:pt x="268" y="157"/>
                  </a:lnTo>
                  <a:lnTo>
                    <a:pt x="261" y="139"/>
                  </a:lnTo>
                  <a:lnTo>
                    <a:pt x="253" y="126"/>
                  </a:lnTo>
                  <a:lnTo>
                    <a:pt x="240" y="116"/>
                  </a:lnTo>
                  <a:lnTo>
                    <a:pt x="224" y="108"/>
                  </a:lnTo>
                  <a:lnTo>
                    <a:pt x="206" y="107"/>
                  </a:lnTo>
                  <a:lnTo>
                    <a:pt x="186" y="110"/>
                  </a:lnTo>
                  <a:lnTo>
                    <a:pt x="170" y="117"/>
                  </a:lnTo>
                  <a:lnTo>
                    <a:pt x="157" y="128"/>
                  </a:lnTo>
                  <a:lnTo>
                    <a:pt x="145" y="142"/>
                  </a:lnTo>
                  <a:lnTo>
                    <a:pt x="139" y="157"/>
                  </a:lnTo>
                  <a:lnTo>
                    <a:pt x="136" y="171"/>
                  </a:lnTo>
                  <a:lnTo>
                    <a:pt x="134" y="189"/>
                  </a:lnTo>
                  <a:lnTo>
                    <a:pt x="134" y="433"/>
                  </a:lnTo>
                  <a:lnTo>
                    <a:pt x="3" y="433"/>
                  </a:lnTo>
                  <a:lnTo>
                    <a:pt x="3" y="144"/>
                  </a:lnTo>
                  <a:lnTo>
                    <a:pt x="2" y="95"/>
                  </a:lnTo>
                  <a:lnTo>
                    <a:pt x="1" y="50"/>
                  </a:lnTo>
                  <a:lnTo>
                    <a:pt x="0" y="10"/>
                  </a:lnTo>
                  <a:lnTo>
                    <a:pt x="113" y="10"/>
                  </a:lnTo>
                  <a:lnTo>
                    <a:pt x="119" y="69"/>
                  </a:lnTo>
                  <a:lnTo>
                    <a:pt x="122" y="69"/>
                  </a:lnTo>
                  <a:lnTo>
                    <a:pt x="132" y="57"/>
                  </a:lnTo>
                  <a:lnTo>
                    <a:pt x="143" y="43"/>
                  </a:lnTo>
                  <a:lnTo>
                    <a:pt x="159" y="31"/>
                  </a:lnTo>
                  <a:lnTo>
                    <a:pt x="177" y="18"/>
                  </a:lnTo>
                  <a:lnTo>
                    <a:pt x="200" y="8"/>
                  </a:lnTo>
                  <a:lnTo>
                    <a:pt x="224" y="2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9" name="Freeform 16"/>
            <p:cNvSpPr>
              <a:spLocks/>
            </p:cNvSpPr>
            <p:nvPr/>
          </p:nvSpPr>
          <p:spPr bwMode="auto">
            <a:xfrm>
              <a:off x="11605171" y="385002"/>
              <a:ext cx="51798" cy="83334"/>
            </a:xfrm>
            <a:custGeom>
              <a:avLst/>
              <a:gdLst>
                <a:gd name="T0" fmla="*/ 0 w 363"/>
                <a:gd name="T1" fmla="*/ 0 h 584"/>
                <a:gd name="T2" fmla="*/ 18693 w 363"/>
                <a:gd name="T3" fmla="*/ 0 h 584"/>
                <a:gd name="T4" fmla="*/ 18693 w 363"/>
                <a:gd name="T5" fmla="*/ 67495 h 584"/>
                <a:gd name="T6" fmla="*/ 51798 w 363"/>
                <a:gd name="T7" fmla="*/ 67495 h 584"/>
                <a:gd name="T8" fmla="*/ 51798 w 363"/>
                <a:gd name="T9" fmla="*/ 83334 h 584"/>
                <a:gd name="T10" fmla="*/ 0 w 363"/>
                <a:gd name="T11" fmla="*/ 83334 h 584"/>
                <a:gd name="T12" fmla="*/ 0 w 363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63" h="584">
                  <a:moveTo>
                    <a:pt x="0" y="0"/>
                  </a:moveTo>
                  <a:lnTo>
                    <a:pt x="131" y="0"/>
                  </a:lnTo>
                  <a:lnTo>
                    <a:pt x="131" y="473"/>
                  </a:lnTo>
                  <a:lnTo>
                    <a:pt x="363" y="473"/>
                  </a:lnTo>
                  <a:lnTo>
                    <a:pt x="363" y="584"/>
                  </a:lnTo>
                  <a:lnTo>
                    <a:pt x="0" y="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40" name="Freeform 17"/>
            <p:cNvSpPr>
              <a:spLocks noEditPoints="1"/>
            </p:cNvSpPr>
            <p:nvPr/>
          </p:nvSpPr>
          <p:spPr bwMode="auto">
            <a:xfrm>
              <a:off x="11663962" y="406549"/>
              <a:ext cx="55223" cy="63214"/>
            </a:xfrm>
            <a:custGeom>
              <a:avLst/>
              <a:gdLst>
                <a:gd name="T0" fmla="*/ 32392 w 387"/>
                <a:gd name="T1" fmla="*/ 33391 h 443"/>
                <a:gd name="T2" fmla="*/ 26256 w 387"/>
                <a:gd name="T3" fmla="*/ 34390 h 443"/>
                <a:gd name="T4" fmla="*/ 21547 w 387"/>
                <a:gd name="T5" fmla="*/ 36673 h 443"/>
                <a:gd name="T6" fmla="*/ 18836 w 387"/>
                <a:gd name="T7" fmla="*/ 40240 h 443"/>
                <a:gd name="T8" fmla="*/ 18836 w 387"/>
                <a:gd name="T9" fmla="*/ 45377 h 443"/>
                <a:gd name="T10" fmla="*/ 21547 w 387"/>
                <a:gd name="T11" fmla="*/ 48802 h 443"/>
                <a:gd name="T12" fmla="*/ 25971 w 387"/>
                <a:gd name="T13" fmla="*/ 49943 h 443"/>
                <a:gd name="T14" fmla="*/ 32106 w 387"/>
                <a:gd name="T15" fmla="*/ 47946 h 443"/>
                <a:gd name="T16" fmla="*/ 35816 w 387"/>
                <a:gd name="T17" fmla="*/ 42951 h 443"/>
                <a:gd name="T18" fmla="*/ 36102 w 387"/>
                <a:gd name="T19" fmla="*/ 39812 h 443"/>
                <a:gd name="T20" fmla="*/ 27826 w 387"/>
                <a:gd name="T21" fmla="*/ 0 h 443"/>
                <a:gd name="T22" fmla="*/ 37529 w 387"/>
                <a:gd name="T23" fmla="*/ 999 h 443"/>
                <a:gd name="T24" fmla="*/ 44521 w 387"/>
                <a:gd name="T25" fmla="*/ 4138 h 443"/>
                <a:gd name="T26" fmla="*/ 49658 w 387"/>
                <a:gd name="T27" fmla="*/ 8990 h 443"/>
                <a:gd name="T28" fmla="*/ 52654 w 387"/>
                <a:gd name="T29" fmla="*/ 15126 h 443"/>
                <a:gd name="T30" fmla="*/ 54081 w 387"/>
                <a:gd name="T31" fmla="*/ 22403 h 443"/>
                <a:gd name="T32" fmla="*/ 54224 w 387"/>
                <a:gd name="T33" fmla="*/ 47232 h 443"/>
                <a:gd name="T34" fmla="*/ 54510 w 387"/>
                <a:gd name="T35" fmla="*/ 55508 h 443"/>
                <a:gd name="T36" fmla="*/ 55223 w 387"/>
                <a:gd name="T37" fmla="*/ 61787 h 443"/>
                <a:gd name="T38" fmla="*/ 37243 w 387"/>
                <a:gd name="T39" fmla="*/ 55794 h 443"/>
                <a:gd name="T40" fmla="*/ 34247 w 387"/>
                <a:gd name="T41" fmla="*/ 58220 h 443"/>
                <a:gd name="T42" fmla="*/ 27540 w 387"/>
                <a:gd name="T43" fmla="*/ 61930 h 443"/>
                <a:gd name="T44" fmla="*/ 19549 w 387"/>
                <a:gd name="T45" fmla="*/ 63214 h 443"/>
                <a:gd name="T46" fmla="*/ 11273 w 387"/>
                <a:gd name="T47" fmla="*/ 61644 h 443"/>
                <a:gd name="T48" fmla="*/ 5137 w 387"/>
                <a:gd name="T49" fmla="*/ 57506 h 443"/>
                <a:gd name="T50" fmla="*/ 1427 w 387"/>
                <a:gd name="T51" fmla="*/ 51513 h 443"/>
                <a:gd name="T52" fmla="*/ 0 w 387"/>
                <a:gd name="T53" fmla="*/ 44521 h 443"/>
                <a:gd name="T54" fmla="*/ 1570 w 387"/>
                <a:gd name="T55" fmla="*/ 36245 h 443"/>
                <a:gd name="T56" fmla="*/ 6421 w 387"/>
                <a:gd name="T57" fmla="*/ 29681 h 443"/>
                <a:gd name="T58" fmla="*/ 13699 w 387"/>
                <a:gd name="T59" fmla="*/ 25114 h 443"/>
                <a:gd name="T60" fmla="*/ 23687 w 387"/>
                <a:gd name="T61" fmla="*/ 22403 h 443"/>
                <a:gd name="T62" fmla="*/ 35388 w 387"/>
                <a:gd name="T63" fmla="*/ 21404 h 443"/>
                <a:gd name="T64" fmla="*/ 35388 w 387"/>
                <a:gd name="T65" fmla="*/ 19549 h 443"/>
                <a:gd name="T66" fmla="*/ 34390 w 387"/>
                <a:gd name="T67" fmla="*/ 16838 h 443"/>
                <a:gd name="T68" fmla="*/ 32106 w 387"/>
                <a:gd name="T69" fmla="*/ 14555 h 443"/>
                <a:gd name="T70" fmla="*/ 27683 w 387"/>
                <a:gd name="T71" fmla="*/ 12985 h 443"/>
                <a:gd name="T72" fmla="*/ 19692 w 387"/>
                <a:gd name="T73" fmla="*/ 13128 h 443"/>
                <a:gd name="T74" fmla="*/ 11273 w 387"/>
                <a:gd name="T75" fmla="*/ 15696 h 443"/>
                <a:gd name="T76" fmla="*/ 4424 w 387"/>
                <a:gd name="T77" fmla="*/ 5422 h 443"/>
                <a:gd name="T78" fmla="*/ 11273 w 387"/>
                <a:gd name="T79" fmla="*/ 2426 h 443"/>
                <a:gd name="T80" fmla="*/ 21547 w 387"/>
                <a:gd name="T81" fmla="*/ 285 h 44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387" h="443">
                  <a:moveTo>
                    <a:pt x="253" y="233"/>
                  </a:moveTo>
                  <a:lnTo>
                    <a:pt x="227" y="234"/>
                  </a:lnTo>
                  <a:lnTo>
                    <a:pt x="205" y="237"/>
                  </a:lnTo>
                  <a:lnTo>
                    <a:pt x="184" y="241"/>
                  </a:lnTo>
                  <a:lnTo>
                    <a:pt x="166" y="248"/>
                  </a:lnTo>
                  <a:lnTo>
                    <a:pt x="151" y="257"/>
                  </a:lnTo>
                  <a:lnTo>
                    <a:pt x="140" y="268"/>
                  </a:lnTo>
                  <a:lnTo>
                    <a:pt x="132" y="282"/>
                  </a:lnTo>
                  <a:lnTo>
                    <a:pt x="130" y="300"/>
                  </a:lnTo>
                  <a:lnTo>
                    <a:pt x="132" y="318"/>
                  </a:lnTo>
                  <a:lnTo>
                    <a:pt x="140" y="332"/>
                  </a:lnTo>
                  <a:lnTo>
                    <a:pt x="151" y="342"/>
                  </a:lnTo>
                  <a:lnTo>
                    <a:pt x="166" y="348"/>
                  </a:lnTo>
                  <a:lnTo>
                    <a:pt x="182" y="350"/>
                  </a:lnTo>
                  <a:lnTo>
                    <a:pt x="205" y="347"/>
                  </a:lnTo>
                  <a:lnTo>
                    <a:pt x="225" y="336"/>
                  </a:lnTo>
                  <a:lnTo>
                    <a:pt x="241" y="321"/>
                  </a:lnTo>
                  <a:lnTo>
                    <a:pt x="251" y="301"/>
                  </a:lnTo>
                  <a:lnTo>
                    <a:pt x="252" y="291"/>
                  </a:lnTo>
                  <a:lnTo>
                    <a:pt x="253" y="279"/>
                  </a:lnTo>
                  <a:lnTo>
                    <a:pt x="253" y="233"/>
                  </a:lnTo>
                  <a:close/>
                  <a:moveTo>
                    <a:pt x="195" y="0"/>
                  </a:moveTo>
                  <a:lnTo>
                    <a:pt x="231" y="1"/>
                  </a:lnTo>
                  <a:lnTo>
                    <a:pt x="263" y="7"/>
                  </a:lnTo>
                  <a:lnTo>
                    <a:pt x="290" y="17"/>
                  </a:lnTo>
                  <a:lnTo>
                    <a:pt x="312" y="29"/>
                  </a:lnTo>
                  <a:lnTo>
                    <a:pt x="332" y="44"/>
                  </a:lnTo>
                  <a:lnTo>
                    <a:pt x="348" y="63"/>
                  </a:lnTo>
                  <a:lnTo>
                    <a:pt x="361" y="84"/>
                  </a:lnTo>
                  <a:lnTo>
                    <a:pt x="369" y="106"/>
                  </a:lnTo>
                  <a:lnTo>
                    <a:pt x="375" y="131"/>
                  </a:lnTo>
                  <a:lnTo>
                    <a:pt x="379" y="157"/>
                  </a:lnTo>
                  <a:lnTo>
                    <a:pt x="380" y="182"/>
                  </a:lnTo>
                  <a:lnTo>
                    <a:pt x="380" y="331"/>
                  </a:lnTo>
                  <a:lnTo>
                    <a:pt x="380" y="360"/>
                  </a:lnTo>
                  <a:lnTo>
                    <a:pt x="382" y="389"/>
                  </a:lnTo>
                  <a:lnTo>
                    <a:pt x="384" y="413"/>
                  </a:lnTo>
                  <a:lnTo>
                    <a:pt x="387" y="433"/>
                  </a:lnTo>
                  <a:lnTo>
                    <a:pt x="268" y="433"/>
                  </a:lnTo>
                  <a:lnTo>
                    <a:pt x="261" y="391"/>
                  </a:lnTo>
                  <a:lnTo>
                    <a:pt x="258" y="391"/>
                  </a:lnTo>
                  <a:lnTo>
                    <a:pt x="240" y="408"/>
                  </a:lnTo>
                  <a:lnTo>
                    <a:pt x="217" y="423"/>
                  </a:lnTo>
                  <a:lnTo>
                    <a:pt x="193" y="434"/>
                  </a:lnTo>
                  <a:lnTo>
                    <a:pt x="166" y="440"/>
                  </a:lnTo>
                  <a:lnTo>
                    <a:pt x="137" y="443"/>
                  </a:lnTo>
                  <a:lnTo>
                    <a:pt x="106" y="439"/>
                  </a:lnTo>
                  <a:lnTo>
                    <a:pt x="79" y="432"/>
                  </a:lnTo>
                  <a:lnTo>
                    <a:pt x="56" y="419"/>
                  </a:lnTo>
                  <a:lnTo>
                    <a:pt x="36" y="403"/>
                  </a:lnTo>
                  <a:lnTo>
                    <a:pt x="21" y="384"/>
                  </a:lnTo>
                  <a:lnTo>
                    <a:pt x="10" y="361"/>
                  </a:lnTo>
                  <a:lnTo>
                    <a:pt x="3" y="338"/>
                  </a:lnTo>
                  <a:lnTo>
                    <a:pt x="0" y="312"/>
                  </a:lnTo>
                  <a:lnTo>
                    <a:pt x="3" y="281"/>
                  </a:lnTo>
                  <a:lnTo>
                    <a:pt x="11" y="254"/>
                  </a:lnTo>
                  <a:lnTo>
                    <a:pt x="26" y="229"/>
                  </a:lnTo>
                  <a:lnTo>
                    <a:pt x="45" y="208"/>
                  </a:lnTo>
                  <a:lnTo>
                    <a:pt x="68" y="191"/>
                  </a:lnTo>
                  <a:lnTo>
                    <a:pt x="96" y="176"/>
                  </a:lnTo>
                  <a:lnTo>
                    <a:pt x="128" y="165"/>
                  </a:lnTo>
                  <a:lnTo>
                    <a:pt x="166" y="157"/>
                  </a:lnTo>
                  <a:lnTo>
                    <a:pt x="205" y="153"/>
                  </a:lnTo>
                  <a:lnTo>
                    <a:pt x="248" y="150"/>
                  </a:lnTo>
                  <a:lnTo>
                    <a:pt x="248" y="145"/>
                  </a:lnTo>
                  <a:lnTo>
                    <a:pt x="248" y="137"/>
                  </a:lnTo>
                  <a:lnTo>
                    <a:pt x="246" y="127"/>
                  </a:lnTo>
                  <a:lnTo>
                    <a:pt x="241" y="118"/>
                  </a:lnTo>
                  <a:lnTo>
                    <a:pt x="235" y="110"/>
                  </a:lnTo>
                  <a:lnTo>
                    <a:pt x="225" y="102"/>
                  </a:lnTo>
                  <a:lnTo>
                    <a:pt x="211" y="96"/>
                  </a:lnTo>
                  <a:lnTo>
                    <a:pt x="194" y="91"/>
                  </a:lnTo>
                  <a:lnTo>
                    <a:pt x="172" y="90"/>
                  </a:lnTo>
                  <a:lnTo>
                    <a:pt x="138" y="92"/>
                  </a:lnTo>
                  <a:lnTo>
                    <a:pt x="108" y="100"/>
                  </a:lnTo>
                  <a:lnTo>
                    <a:pt x="79" y="110"/>
                  </a:lnTo>
                  <a:lnTo>
                    <a:pt x="54" y="122"/>
                  </a:lnTo>
                  <a:lnTo>
                    <a:pt x="31" y="38"/>
                  </a:lnTo>
                  <a:lnTo>
                    <a:pt x="52" y="27"/>
                  </a:lnTo>
                  <a:lnTo>
                    <a:pt x="79" y="17"/>
                  </a:lnTo>
                  <a:lnTo>
                    <a:pt x="112" y="8"/>
                  </a:lnTo>
                  <a:lnTo>
                    <a:pt x="151" y="2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41" name="Freeform 18"/>
            <p:cNvSpPr>
              <a:spLocks noEditPoints="1"/>
            </p:cNvSpPr>
            <p:nvPr/>
          </p:nvSpPr>
          <p:spPr bwMode="auto">
            <a:xfrm>
              <a:off x="11732740" y="380579"/>
              <a:ext cx="62501" cy="89184"/>
            </a:xfrm>
            <a:custGeom>
              <a:avLst/>
              <a:gdLst>
                <a:gd name="T0" fmla="*/ 27540 w 438"/>
                <a:gd name="T1" fmla="*/ 40953 h 625"/>
                <a:gd name="T2" fmla="*/ 22546 w 438"/>
                <a:gd name="T3" fmla="*/ 44093 h 625"/>
                <a:gd name="T4" fmla="*/ 19549 w 438"/>
                <a:gd name="T5" fmla="*/ 49658 h 625"/>
                <a:gd name="T6" fmla="*/ 19121 w 438"/>
                <a:gd name="T7" fmla="*/ 53225 h 625"/>
                <a:gd name="T8" fmla="*/ 19264 w 438"/>
                <a:gd name="T9" fmla="*/ 63784 h 625"/>
                <a:gd name="T10" fmla="*/ 20691 w 438"/>
                <a:gd name="T11" fmla="*/ 68208 h 625"/>
                <a:gd name="T12" fmla="*/ 24544 w 438"/>
                <a:gd name="T13" fmla="*/ 72631 h 625"/>
                <a:gd name="T14" fmla="*/ 30537 w 438"/>
                <a:gd name="T15" fmla="*/ 74344 h 625"/>
                <a:gd name="T16" fmla="*/ 36530 w 438"/>
                <a:gd name="T17" fmla="*/ 72774 h 625"/>
                <a:gd name="T18" fmla="*/ 40954 w 438"/>
                <a:gd name="T19" fmla="*/ 68636 h 625"/>
                <a:gd name="T20" fmla="*/ 43237 w 438"/>
                <a:gd name="T21" fmla="*/ 61644 h 625"/>
                <a:gd name="T22" fmla="*/ 43237 w 438"/>
                <a:gd name="T23" fmla="*/ 53796 h 625"/>
                <a:gd name="T24" fmla="*/ 41667 w 438"/>
                <a:gd name="T25" fmla="*/ 47803 h 625"/>
                <a:gd name="T26" fmla="*/ 38528 w 438"/>
                <a:gd name="T27" fmla="*/ 43379 h 625"/>
                <a:gd name="T28" fmla="*/ 33534 w 438"/>
                <a:gd name="T29" fmla="*/ 40811 h 625"/>
                <a:gd name="T30" fmla="*/ 428 w 438"/>
                <a:gd name="T31" fmla="*/ 0 h 625"/>
                <a:gd name="T32" fmla="*/ 19121 w 438"/>
                <a:gd name="T33" fmla="*/ 34532 h 625"/>
                <a:gd name="T34" fmla="*/ 21975 w 438"/>
                <a:gd name="T35" fmla="*/ 31535 h 625"/>
                <a:gd name="T36" fmla="*/ 28682 w 438"/>
                <a:gd name="T37" fmla="*/ 27540 h 625"/>
                <a:gd name="T38" fmla="*/ 37672 w 438"/>
                <a:gd name="T39" fmla="*/ 25970 h 625"/>
                <a:gd name="T40" fmla="*/ 46662 w 438"/>
                <a:gd name="T41" fmla="*/ 27683 h 625"/>
                <a:gd name="T42" fmla="*/ 54082 w 438"/>
                <a:gd name="T43" fmla="*/ 32677 h 625"/>
                <a:gd name="T44" fmla="*/ 59362 w 438"/>
                <a:gd name="T45" fmla="*/ 40383 h 625"/>
                <a:gd name="T46" fmla="*/ 62073 w 438"/>
                <a:gd name="T47" fmla="*/ 50657 h 625"/>
                <a:gd name="T48" fmla="*/ 62073 w 438"/>
                <a:gd name="T49" fmla="*/ 62215 h 625"/>
                <a:gd name="T50" fmla="*/ 59790 w 438"/>
                <a:gd name="T51" fmla="*/ 71918 h 625"/>
                <a:gd name="T52" fmla="*/ 55223 w 438"/>
                <a:gd name="T53" fmla="*/ 79481 h 625"/>
                <a:gd name="T54" fmla="*/ 49373 w 438"/>
                <a:gd name="T55" fmla="*/ 84760 h 625"/>
                <a:gd name="T56" fmla="*/ 42381 w 438"/>
                <a:gd name="T57" fmla="*/ 88042 h 625"/>
                <a:gd name="T58" fmla="*/ 34961 w 438"/>
                <a:gd name="T59" fmla="*/ 89184 h 625"/>
                <a:gd name="T60" fmla="*/ 28111 w 438"/>
                <a:gd name="T61" fmla="*/ 88042 h 625"/>
                <a:gd name="T62" fmla="*/ 21833 w 438"/>
                <a:gd name="T63" fmla="*/ 85189 h 625"/>
                <a:gd name="T64" fmla="*/ 16838 w 438"/>
                <a:gd name="T65" fmla="*/ 79338 h 625"/>
                <a:gd name="T66" fmla="*/ 15839 w 438"/>
                <a:gd name="T67" fmla="*/ 87757 h 625"/>
                <a:gd name="T68" fmla="*/ 143 w 438"/>
                <a:gd name="T69" fmla="*/ 84190 h 625"/>
                <a:gd name="T70" fmla="*/ 285 w 438"/>
                <a:gd name="T71" fmla="*/ 74915 h 625"/>
                <a:gd name="T72" fmla="*/ 428 w 438"/>
                <a:gd name="T73" fmla="*/ 0 h 62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438" h="625">
                  <a:moveTo>
                    <a:pt x="214" y="283"/>
                  </a:moveTo>
                  <a:lnTo>
                    <a:pt x="193" y="287"/>
                  </a:lnTo>
                  <a:lnTo>
                    <a:pt x="174" y="295"/>
                  </a:lnTo>
                  <a:lnTo>
                    <a:pt x="158" y="309"/>
                  </a:lnTo>
                  <a:lnTo>
                    <a:pt x="145" y="327"/>
                  </a:lnTo>
                  <a:lnTo>
                    <a:pt x="137" y="348"/>
                  </a:lnTo>
                  <a:lnTo>
                    <a:pt x="135" y="361"/>
                  </a:lnTo>
                  <a:lnTo>
                    <a:pt x="134" y="373"/>
                  </a:lnTo>
                  <a:lnTo>
                    <a:pt x="134" y="435"/>
                  </a:lnTo>
                  <a:lnTo>
                    <a:pt x="135" y="447"/>
                  </a:lnTo>
                  <a:lnTo>
                    <a:pt x="137" y="458"/>
                  </a:lnTo>
                  <a:lnTo>
                    <a:pt x="145" y="478"/>
                  </a:lnTo>
                  <a:lnTo>
                    <a:pt x="156" y="495"/>
                  </a:lnTo>
                  <a:lnTo>
                    <a:pt x="172" y="509"/>
                  </a:lnTo>
                  <a:lnTo>
                    <a:pt x="192" y="518"/>
                  </a:lnTo>
                  <a:lnTo>
                    <a:pt x="214" y="521"/>
                  </a:lnTo>
                  <a:lnTo>
                    <a:pt x="237" y="518"/>
                  </a:lnTo>
                  <a:lnTo>
                    <a:pt x="256" y="510"/>
                  </a:lnTo>
                  <a:lnTo>
                    <a:pt x="274" y="498"/>
                  </a:lnTo>
                  <a:lnTo>
                    <a:pt x="287" y="481"/>
                  </a:lnTo>
                  <a:lnTo>
                    <a:pt x="297" y="458"/>
                  </a:lnTo>
                  <a:lnTo>
                    <a:pt x="303" y="432"/>
                  </a:lnTo>
                  <a:lnTo>
                    <a:pt x="305" y="402"/>
                  </a:lnTo>
                  <a:lnTo>
                    <a:pt x="303" y="377"/>
                  </a:lnTo>
                  <a:lnTo>
                    <a:pt x="300" y="355"/>
                  </a:lnTo>
                  <a:lnTo>
                    <a:pt x="292" y="335"/>
                  </a:lnTo>
                  <a:lnTo>
                    <a:pt x="282" y="318"/>
                  </a:lnTo>
                  <a:lnTo>
                    <a:pt x="270" y="304"/>
                  </a:lnTo>
                  <a:lnTo>
                    <a:pt x="254" y="293"/>
                  </a:lnTo>
                  <a:lnTo>
                    <a:pt x="235" y="286"/>
                  </a:lnTo>
                  <a:lnTo>
                    <a:pt x="214" y="283"/>
                  </a:lnTo>
                  <a:close/>
                  <a:moveTo>
                    <a:pt x="3" y="0"/>
                  </a:moveTo>
                  <a:lnTo>
                    <a:pt x="134" y="0"/>
                  </a:lnTo>
                  <a:lnTo>
                    <a:pt x="134" y="242"/>
                  </a:lnTo>
                  <a:lnTo>
                    <a:pt x="137" y="242"/>
                  </a:lnTo>
                  <a:lnTo>
                    <a:pt x="154" y="221"/>
                  </a:lnTo>
                  <a:lnTo>
                    <a:pt x="175" y="205"/>
                  </a:lnTo>
                  <a:lnTo>
                    <a:pt x="201" y="193"/>
                  </a:lnTo>
                  <a:lnTo>
                    <a:pt x="230" y="186"/>
                  </a:lnTo>
                  <a:lnTo>
                    <a:pt x="264" y="182"/>
                  </a:lnTo>
                  <a:lnTo>
                    <a:pt x="297" y="186"/>
                  </a:lnTo>
                  <a:lnTo>
                    <a:pt x="327" y="194"/>
                  </a:lnTo>
                  <a:lnTo>
                    <a:pt x="355" y="209"/>
                  </a:lnTo>
                  <a:lnTo>
                    <a:pt x="379" y="229"/>
                  </a:lnTo>
                  <a:lnTo>
                    <a:pt x="400" y="253"/>
                  </a:lnTo>
                  <a:lnTo>
                    <a:pt x="416" y="283"/>
                  </a:lnTo>
                  <a:lnTo>
                    <a:pt x="428" y="316"/>
                  </a:lnTo>
                  <a:lnTo>
                    <a:pt x="435" y="355"/>
                  </a:lnTo>
                  <a:lnTo>
                    <a:pt x="438" y="397"/>
                  </a:lnTo>
                  <a:lnTo>
                    <a:pt x="435" y="436"/>
                  </a:lnTo>
                  <a:lnTo>
                    <a:pt x="429" y="472"/>
                  </a:lnTo>
                  <a:lnTo>
                    <a:pt x="419" y="504"/>
                  </a:lnTo>
                  <a:lnTo>
                    <a:pt x="405" y="532"/>
                  </a:lnTo>
                  <a:lnTo>
                    <a:pt x="387" y="557"/>
                  </a:lnTo>
                  <a:lnTo>
                    <a:pt x="367" y="577"/>
                  </a:lnTo>
                  <a:lnTo>
                    <a:pt x="346" y="594"/>
                  </a:lnTo>
                  <a:lnTo>
                    <a:pt x="323" y="608"/>
                  </a:lnTo>
                  <a:lnTo>
                    <a:pt x="297" y="617"/>
                  </a:lnTo>
                  <a:lnTo>
                    <a:pt x="271" y="622"/>
                  </a:lnTo>
                  <a:lnTo>
                    <a:pt x="245" y="625"/>
                  </a:lnTo>
                  <a:lnTo>
                    <a:pt x="221" y="622"/>
                  </a:lnTo>
                  <a:lnTo>
                    <a:pt x="197" y="617"/>
                  </a:lnTo>
                  <a:lnTo>
                    <a:pt x="174" y="609"/>
                  </a:lnTo>
                  <a:lnTo>
                    <a:pt x="153" y="597"/>
                  </a:lnTo>
                  <a:lnTo>
                    <a:pt x="134" y="578"/>
                  </a:lnTo>
                  <a:lnTo>
                    <a:pt x="118" y="556"/>
                  </a:lnTo>
                  <a:lnTo>
                    <a:pt x="117" y="556"/>
                  </a:lnTo>
                  <a:lnTo>
                    <a:pt x="111" y="615"/>
                  </a:lnTo>
                  <a:lnTo>
                    <a:pt x="0" y="615"/>
                  </a:lnTo>
                  <a:lnTo>
                    <a:pt x="1" y="590"/>
                  </a:lnTo>
                  <a:lnTo>
                    <a:pt x="2" y="559"/>
                  </a:lnTo>
                  <a:lnTo>
                    <a:pt x="2" y="525"/>
                  </a:lnTo>
                  <a:lnTo>
                    <a:pt x="3" y="48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42" name="Freeform 19"/>
            <p:cNvSpPr>
              <a:spLocks/>
            </p:cNvSpPr>
            <p:nvPr/>
          </p:nvSpPr>
          <p:spPr bwMode="auto">
            <a:xfrm>
              <a:off x="11803517" y="406549"/>
              <a:ext cx="45662" cy="63214"/>
            </a:xfrm>
            <a:custGeom>
              <a:avLst/>
              <a:gdLst>
                <a:gd name="T0" fmla="*/ 31107 w 320"/>
                <a:gd name="T1" fmla="*/ 143 h 443"/>
                <a:gd name="T2" fmla="*/ 39812 w 320"/>
                <a:gd name="T3" fmla="*/ 2140 h 443"/>
                <a:gd name="T4" fmla="*/ 39812 w 320"/>
                <a:gd name="T5" fmla="*/ 16553 h 443"/>
                <a:gd name="T6" fmla="*/ 34104 w 320"/>
                <a:gd name="T7" fmla="*/ 14270 h 443"/>
                <a:gd name="T8" fmla="*/ 26826 w 320"/>
                <a:gd name="T9" fmla="*/ 12985 h 443"/>
                <a:gd name="T10" fmla="*/ 22118 w 320"/>
                <a:gd name="T11" fmla="*/ 13841 h 443"/>
                <a:gd name="T12" fmla="*/ 19834 w 320"/>
                <a:gd name="T13" fmla="*/ 16125 h 443"/>
                <a:gd name="T14" fmla="*/ 19692 w 320"/>
                <a:gd name="T15" fmla="*/ 19121 h 443"/>
                <a:gd name="T16" fmla="*/ 21689 w 320"/>
                <a:gd name="T17" fmla="*/ 21404 h 443"/>
                <a:gd name="T18" fmla="*/ 26113 w 320"/>
                <a:gd name="T19" fmla="*/ 23545 h 443"/>
                <a:gd name="T20" fmla="*/ 33818 w 320"/>
                <a:gd name="T21" fmla="*/ 26684 h 443"/>
                <a:gd name="T22" fmla="*/ 40525 w 320"/>
                <a:gd name="T23" fmla="*/ 31108 h 443"/>
                <a:gd name="T24" fmla="*/ 44378 w 320"/>
                <a:gd name="T25" fmla="*/ 36673 h 443"/>
                <a:gd name="T26" fmla="*/ 45662 w 320"/>
                <a:gd name="T27" fmla="*/ 43522 h 443"/>
                <a:gd name="T28" fmla="*/ 44378 w 320"/>
                <a:gd name="T29" fmla="*/ 50514 h 443"/>
                <a:gd name="T30" fmla="*/ 40525 w 320"/>
                <a:gd name="T31" fmla="*/ 56365 h 443"/>
                <a:gd name="T32" fmla="*/ 33961 w 320"/>
                <a:gd name="T33" fmla="*/ 60503 h 443"/>
                <a:gd name="T34" fmla="*/ 24971 w 320"/>
                <a:gd name="T35" fmla="*/ 62786 h 443"/>
                <a:gd name="T36" fmla="*/ 13699 w 320"/>
                <a:gd name="T37" fmla="*/ 62786 h 443"/>
                <a:gd name="T38" fmla="*/ 3853 w 320"/>
                <a:gd name="T39" fmla="*/ 60503 h 443"/>
                <a:gd name="T40" fmla="*/ 3282 w 320"/>
                <a:gd name="T41" fmla="*/ 45377 h 443"/>
                <a:gd name="T42" fmla="*/ 8990 w 320"/>
                <a:gd name="T43" fmla="*/ 47946 h 443"/>
                <a:gd name="T44" fmla="*/ 15982 w 320"/>
                <a:gd name="T45" fmla="*/ 49658 h 443"/>
                <a:gd name="T46" fmla="*/ 22546 w 320"/>
                <a:gd name="T47" fmla="*/ 49658 h 443"/>
                <a:gd name="T48" fmla="*/ 26398 w 320"/>
                <a:gd name="T49" fmla="*/ 48088 h 443"/>
                <a:gd name="T50" fmla="*/ 27683 w 320"/>
                <a:gd name="T51" fmla="*/ 45092 h 443"/>
                <a:gd name="T52" fmla="*/ 26826 w 320"/>
                <a:gd name="T53" fmla="*/ 42238 h 443"/>
                <a:gd name="T54" fmla="*/ 24115 w 320"/>
                <a:gd name="T55" fmla="*/ 40097 h 443"/>
                <a:gd name="T56" fmla="*/ 18836 w 320"/>
                <a:gd name="T57" fmla="*/ 37957 h 443"/>
                <a:gd name="T58" fmla="*/ 9846 w 320"/>
                <a:gd name="T59" fmla="*/ 33819 h 443"/>
                <a:gd name="T60" fmla="*/ 4424 w 320"/>
                <a:gd name="T61" fmla="*/ 28682 h 443"/>
                <a:gd name="T62" fmla="*/ 1712 w 320"/>
                <a:gd name="T63" fmla="*/ 22831 h 443"/>
                <a:gd name="T64" fmla="*/ 1855 w 320"/>
                <a:gd name="T65" fmla="*/ 15696 h 443"/>
                <a:gd name="T66" fmla="*/ 5280 w 320"/>
                <a:gd name="T67" fmla="*/ 8419 h 443"/>
                <a:gd name="T68" fmla="*/ 11844 w 320"/>
                <a:gd name="T69" fmla="*/ 3139 h 443"/>
                <a:gd name="T70" fmla="*/ 20833 w 320"/>
                <a:gd name="T71" fmla="*/ 285 h 44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0" h="443">
                  <a:moveTo>
                    <a:pt x="183" y="0"/>
                  </a:moveTo>
                  <a:lnTo>
                    <a:pt x="218" y="1"/>
                  </a:lnTo>
                  <a:lnTo>
                    <a:pt x="250" y="7"/>
                  </a:lnTo>
                  <a:lnTo>
                    <a:pt x="279" y="15"/>
                  </a:lnTo>
                  <a:lnTo>
                    <a:pt x="301" y="25"/>
                  </a:lnTo>
                  <a:lnTo>
                    <a:pt x="279" y="116"/>
                  </a:lnTo>
                  <a:lnTo>
                    <a:pt x="262" y="107"/>
                  </a:lnTo>
                  <a:lnTo>
                    <a:pt x="239" y="100"/>
                  </a:lnTo>
                  <a:lnTo>
                    <a:pt x="213" y="94"/>
                  </a:lnTo>
                  <a:lnTo>
                    <a:pt x="188" y="91"/>
                  </a:lnTo>
                  <a:lnTo>
                    <a:pt x="170" y="92"/>
                  </a:lnTo>
                  <a:lnTo>
                    <a:pt x="155" y="97"/>
                  </a:lnTo>
                  <a:lnTo>
                    <a:pt x="146" y="104"/>
                  </a:lnTo>
                  <a:lnTo>
                    <a:pt x="139" y="113"/>
                  </a:lnTo>
                  <a:lnTo>
                    <a:pt x="137" y="124"/>
                  </a:lnTo>
                  <a:lnTo>
                    <a:pt x="138" y="134"/>
                  </a:lnTo>
                  <a:lnTo>
                    <a:pt x="143" y="143"/>
                  </a:lnTo>
                  <a:lnTo>
                    <a:pt x="152" y="150"/>
                  </a:lnTo>
                  <a:lnTo>
                    <a:pt x="164" y="158"/>
                  </a:lnTo>
                  <a:lnTo>
                    <a:pt x="183" y="165"/>
                  </a:lnTo>
                  <a:lnTo>
                    <a:pt x="205" y="174"/>
                  </a:lnTo>
                  <a:lnTo>
                    <a:pt x="237" y="187"/>
                  </a:lnTo>
                  <a:lnTo>
                    <a:pt x="263" y="201"/>
                  </a:lnTo>
                  <a:lnTo>
                    <a:pt x="284" y="218"/>
                  </a:lnTo>
                  <a:lnTo>
                    <a:pt x="300" y="237"/>
                  </a:lnTo>
                  <a:lnTo>
                    <a:pt x="311" y="257"/>
                  </a:lnTo>
                  <a:lnTo>
                    <a:pt x="317" y="280"/>
                  </a:lnTo>
                  <a:lnTo>
                    <a:pt x="320" y="305"/>
                  </a:lnTo>
                  <a:lnTo>
                    <a:pt x="317" y="331"/>
                  </a:lnTo>
                  <a:lnTo>
                    <a:pt x="311" y="354"/>
                  </a:lnTo>
                  <a:lnTo>
                    <a:pt x="299" y="376"/>
                  </a:lnTo>
                  <a:lnTo>
                    <a:pt x="284" y="395"/>
                  </a:lnTo>
                  <a:lnTo>
                    <a:pt x="263" y="411"/>
                  </a:lnTo>
                  <a:lnTo>
                    <a:pt x="238" y="424"/>
                  </a:lnTo>
                  <a:lnTo>
                    <a:pt x="208" y="434"/>
                  </a:lnTo>
                  <a:lnTo>
                    <a:pt x="175" y="440"/>
                  </a:lnTo>
                  <a:lnTo>
                    <a:pt x="137" y="443"/>
                  </a:lnTo>
                  <a:lnTo>
                    <a:pt x="96" y="440"/>
                  </a:lnTo>
                  <a:lnTo>
                    <a:pt x="60" y="434"/>
                  </a:lnTo>
                  <a:lnTo>
                    <a:pt x="27" y="424"/>
                  </a:lnTo>
                  <a:lnTo>
                    <a:pt x="0" y="412"/>
                  </a:lnTo>
                  <a:lnTo>
                    <a:pt x="23" y="318"/>
                  </a:lnTo>
                  <a:lnTo>
                    <a:pt x="41" y="328"/>
                  </a:lnTo>
                  <a:lnTo>
                    <a:pt x="63" y="336"/>
                  </a:lnTo>
                  <a:lnTo>
                    <a:pt x="88" y="343"/>
                  </a:lnTo>
                  <a:lnTo>
                    <a:pt x="112" y="348"/>
                  </a:lnTo>
                  <a:lnTo>
                    <a:pt x="137" y="350"/>
                  </a:lnTo>
                  <a:lnTo>
                    <a:pt x="158" y="348"/>
                  </a:lnTo>
                  <a:lnTo>
                    <a:pt x="174" y="344"/>
                  </a:lnTo>
                  <a:lnTo>
                    <a:pt x="185" y="337"/>
                  </a:lnTo>
                  <a:lnTo>
                    <a:pt x="191" y="327"/>
                  </a:lnTo>
                  <a:lnTo>
                    <a:pt x="194" y="316"/>
                  </a:lnTo>
                  <a:lnTo>
                    <a:pt x="192" y="305"/>
                  </a:lnTo>
                  <a:lnTo>
                    <a:pt x="188" y="296"/>
                  </a:lnTo>
                  <a:lnTo>
                    <a:pt x="180" y="289"/>
                  </a:lnTo>
                  <a:lnTo>
                    <a:pt x="169" y="281"/>
                  </a:lnTo>
                  <a:lnTo>
                    <a:pt x="153" y="274"/>
                  </a:lnTo>
                  <a:lnTo>
                    <a:pt x="132" y="266"/>
                  </a:lnTo>
                  <a:lnTo>
                    <a:pt x="97" y="253"/>
                  </a:lnTo>
                  <a:lnTo>
                    <a:pt x="69" y="237"/>
                  </a:lnTo>
                  <a:lnTo>
                    <a:pt x="47" y="220"/>
                  </a:lnTo>
                  <a:lnTo>
                    <a:pt x="31" y="201"/>
                  </a:lnTo>
                  <a:lnTo>
                    <a:pt x="18" y="181"/>
                  </a:lnTo>
                  <a:lnTo>
                    <a:pt x="12" y="160"/>
                  </a:lnTo>
                  <a:lnTo>
                    <a:pt x="11" y="139"/>
                  </a:lnTo>
                  <a:lnTo>
                    <a:pt x="13" y="110"/>
                  </a:lnTo>
                  <a:lnTo>
                    <a:pt x="23" y="84"/>
                  </a:lnTo>
                  <a:lnTo>
                    <a:pt x="37" y="59"/>
                  </a:lnTo>
                  <a:lnTo>
                    <a:pt x="58" y="39"/>
                  </a:lnTo>
                  <a:lnTo>
                    <a:pt x="83" y="22"/>
                  </a:lnTo>
                  <a:lnTo>
                    <a:pt x="112" y="10"/>
                  </a:lnTo>
                  <a:lnTo>
                    <a:pt x="146" y="2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43" name="Freeform 20"/>
            <p:cNvSpPr>
              <a:spLocks/>
            </p:cNvSpPr>
            <p:nvPr/>
          </p:nvSpPr>
          <p:spPr bwMode="auto">
            <a:xfrm>
              <a:off x="11452773" y="106463"/>
              <a:ext cx="139698" cy="214898"/>
            </a:xfrm>
            <a:custGeom>
              <a:avLst/>
              <a:gdLst>
                <a:gd name="T0" fmla="*/ 61644 w 979"/>
                <a:gd name="T1" fmla="*/ 9561 h 1506"/>
                <a:gd name="T2" fmla="*/ 61929 w 979"/>
                <a:gd name="T3" fmla="*/ 28396 h 1506"/>
                <a:gd name="T4" fmla="*/ 63784 w 979"/>
                <a:gd name="T5" fmla="*/ 47232 h 1506"/>
                <a:gd name="T6" fmla="*/ 68493 w 979"/>
                <a:gd name="T7" fmla="*/ 64070 h 1506"/>
                <a:gd name="T8" fmla="*/ 75057 w 979"/>
                <a:gd name="T9" fmla="*/ 78767 h 1506"/>
                <a:gd name="T10" fmla="*/ 81907 w 979"/>
                <a:gd name="T11" fmla="*/ 93180 h 1506"/>
                <a:gd name="T12" fmla="*/ 97460 w 979"/>
                <a:gd name="T13" fmla="*/ 123716 h 1506"/>
                <a:gd name="T14" fmla="*/ 114441 w 979"/>
                <a:gd name="T15" fmla="*/ 153397 h 1506"/>
                <a:gd name="T16" fmla="*/ 127141 w 979"/>
                <a:gd name="T17" fmla="*/ 175229 h 1506"/>
                <a:gd name="T18" fmla="*/ 134418 w 979"/>
                <a:gd name="T19" fmla="*/ 190497 h 1506"/>
                <a:gd name="T20" fmla="*/ 138985 w 979"/>
                <a:gd name="T21" fmla="*/ 206764 h 1506"/>
                <a:gd name="T22" fmla="*/ 24115 w 979"/>
                <a:gd name="T23" fmla="*/ 214898 h 1506"/>
                <a:gd name="T24" fmla="*/ 57791 w 979"/>
                <a:gd name="T25" fmla="*/ 182078 h 1506"/>
                <a:gd name="T26" fmla="*/ 55080 w 979"/>
                <a:gd name="T27" fmla="*/ 176656 h 1506"/>
                <a:gd name="T28" fmla="*/ 51085 w 979"/>
                <a:gd name="T29" fmla="*/ 168094 h 1506"/>
                <a:gd name="T30" fmla="*/ 45948 w 979"/>
                <a:gd name="T31" fmla="*/ 157535 h 1506"/>
                <a:gd name="T32" fmla="*/ 40097 w 979"/>
                <a:gd name="T33" fmla="*/ 145263 h 1506"/>
                <a:gd name="T34" fmla="*/ 33819 w 979"/>
                <a:gd name="T35" fmla="*/ 132278 h 1506"/>
                <a:gd name="T36" fmla="*/ 27255 w 979"/>
                <a:gd name="T37" fmla="*/ 118865 h 1506"/>
                <a:gd name="T38" fmla="*/ 20976 w 979"/>
                <a:gd name="T39" fmla="*/ 106022 h 1506"/>
                <a:gd name="T40" fmla="*/ 14983 w 979"/>
                <a:gd name="T41" fmla="*/ 94178 h 1506"/>
                <a:gd name="T42" fmla="*/ 9989 w 979"/>
                <a:gd name="T43" fmla="*/ 84047 h 1506"/>
                <a:gd name="T44" fmla="*/ 6136 w 979"/>
                <a:gd name="T45" fmla="*/ 76199 h 1506"/>
                <a:gd name="T46" fmla="*/ 3710 w 979"/>
                <a:gd name="T47" fmla="*/ 71490 h 1506"/>
                <a:gd name="T48" fmla="*/ 571 w 979"/>
                <a:gd name="T49" fmla="*/ 63356 h 1506"/>
                <a:gd name="T50" fmla="*/ 0 w 979"/>
                <a:gd name="T51" fmla="*/ 54795 h 1506"/>
                <a:gd name="T52" fmla="*/ 1855 w 979"/>
                <a:gd name="T53" fmla="*/ 46518 h 1506"/>
                <a:gd name="T54" fmla="*/ 6136 w 979"/>
                <a:gd name="T55" fmla="*/ 39098 h 1506"/>
                <a:gd name="T56" fmla="*/ 12985 w 979"/>
                <a:gd name="T57" fmla="*/ 33105 h 1506"/>
                <a:gd name="T58" fmla="*/ 32249 w 979"/>
                <a:gd name="T59" fmla="*/ 21975 h 1506"/>
                <a:gd name="T60" fmla="*/ 42951 w 979"/>
                <a:gd name="T61" fmla="*/ 15268 h 1506"/>
                <a:gd name="T62" fmla="*/ 46661 w 979"/>
                <a:gd name="T63" fmla="*/ 12985 h 1506"/>
                <a:gd name="T64" fmla="*/ 51370 w 979"/>
                <a:gd name="T65" fmla="*/ 9703 h 1506"/>
                <a:gd name="T66" fmla="*/ 56364 w 979"/>
                <a:gd name="T67" fmla="*/ 5993 h 1506"/>
                <a:gd name="T68" fmla="*/ 60074 w 979"/>
                <a:gd name="T69" fmla="*/ 2569 h 1506"/>
                <a:gd name="T70" fmla="*/ 61501 w 979"/>
                <a:gd name="T71" fmla="*/ 0 h 150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79" h="1506">
                  <a:moveTo>
                    <a:pt x="431" y="0"/>
                  </a:moveTo>
                  <a:lnTo>
                    <a:pt x="432" y="67"/>
                  </a:lnTo>
                  <a:lnTo>
                    <a:pt x="433" y="133"/>
                  </a:lnTo>
                  <a:lnTo>
                    <a:pt x="434" y="199"/>
                  </a:lnTo>
                  <a:lnTo>
                    <a:pt x="438" y="265"/>
                  </a:lnTo>
                  <a:lnTo>
                    <a:pt x="447" y="331"/>
                  </a:lnTo>
                  <a:lnTo>
                    <a:pt x="462" y="396"/>
                  </a:lnTo>
                  <a:lnTo>
                    <a:pt x="480" y="449"/>
                  </a:lnTo>
                  <a:lnTo>
                    <a:pt x="502" y="501"/>
                  </a:lnTo>
                  <a:lnTo>
                    <a:pt x="526" y="552"/>
                  </a:lnTo>
                  <a:lnTo>
                    <a:pt x="550" y="602"/>
                  </a:lnTo>
                  <a:lnTo>
                    <a:pt x="574" y="653"/>
                  </a:lnTo>
                  <a:lnTo>
                    <a:pt x="627" y="763"/>
                  </a:lnTo>
                  <a:lnTo>
                    <a:pt x="683" y="867"/>
                  </a:lnTo>
                  <a:lnTo>
                    <a:pt x="742" y="971"/>
                  </a:lnTo>
                  <a:lnTo>
                    <a:pt x="802" y="1075"/>
                  </a:lnTo>
                  <a:lnTo>
                    <a:pt x="864" y="1178"/>
                  </a:lnTo>
                  <a:lnTo>
                    <a:pt x="891" y="1228"/>
                  </a:lnTo>
                  <a:lnTo>
                    <a:pt x="918" y="1281"/>
                  </a:lnTo>
                  <a:lnTo>
                    <a:pt x="942" y="1335"/>
                  </a:lnTo>
                  <a:lnTo>
                    <a:pt x="960" y="1392"/>
                  </a:lnTo>
                  <a:lnTo>
                    <a:pt x="974" y="1449"/>
                  </a:lnTo>
                  <a:lnTo>
                    <a:pt x="979" y="1506"/>
                  </a:lnTo>
                  <a:lnTo>
                    <a:pt x="169" y="1506"/>
                  </a:lnTo>
                  <a:lnTo>
                    <a:pt x="169" y="1276"/>
                  </a:lnTo>
                  <a:lnTo>
                    <a:pt x="405" y="1276"/>
                  </a:lnTo>
                  <a:lnTo>
                    <a:pt x="396" y="1260"/>
                  </a:lnTo>
                  <a:lnTo>
                    <a:pt x="386" y="1238"/>
                  </a:lnTo>
                  <a:lnTo>
                    <a:pt x="373" y="1211"/>
                  </a:lnTo>
                  <a:lnTo>
                    <a:pt x="358" y="1178"/>
                  </a:lnTo>
                  <a:lnTo>
                    <a:pt x="341" y="1143"/>
                  </a:lnTo>
                  <a:lnTo>
                    <a:pt x="322" y="1104"/>
                  </a:lnTo>
                  <a:lnTo>
                    <a:pt x="302" y="1062"/>
                  </a:lnTo>
                  <a:lnTo>
                    <a:pt x="281" y="1018"/>
                  </a:lnTo>
                  <a:lnTo>
                    <a:pt x="259" y="974"/>
                  </a:lnTo>
                  <a:lnTo>
                    <a:pt x="237" y="927"/>
                  </a:lnTo>
                  <a:lnTo>
                    <a:pt x="213" y="880"/>
                  </a:lnTo>
                  <a:lnTo>
                    <a:pt x="191" y="833"/>
                  </a:lnTo>
                  <a:lnTo>
                    <a:pt x="168" y="787"/>
                  </a:lnTo>
                  <a:lnTo>
                    <a:pt x="147" y="743"/>
                  </a:lnTo>
                  <a:lnTo>
                    <a:pt x="126" y="700"/>
                  </a:lnTo>
                  <a:lnTo>
                    <a:pt x="105" y="660"/>
                  </a:lnTo>
                  <a:lnTo>
                    <a:pt x="86" y="623"/>
                  </a:lnTo>
                  <a:lnTo>
                    <a:pt x="70" y="589"/>
                  </a:lnTo>
                  <a:lnTo>
                    <a:pt x="55" y="559"/>
                  </a:lnTo>
                  <a:lnTo>
                    <a:pt x="43" y="534"/>
                  </a:lnTo>
                  <a:lnTo>
                    <a:pt x="32" y="515"/>
                  </a:lnTo>
                  <a:lnTo>
                    <a:pt x="26" y="501"/>
                  </a:lnTo>
                  <a:lnTo>
                    <a:pt x="12" y="473"/>
                  </a:lnTo>
                  <a:lnTo>
                    <a:pt x="4" y="444"/>
                  </a:lnTo>
                  <a:lnTo>
                    <a:pt x="0" y="413"/>
                  </a:lnTo>
                  <a:lnTo>
                    <a:pt x="0" y="384"/>
                  </a:lnTo>
                  <a:lnTo>
                    <a:pt x="5" y="354"/>
                  </a:lnTo>
                  <a:lnTo>
                    <a:pt x="13" y="326"/>
                  </a:lnTo>
                  <a:lnTo>
                    <a:pt x="26" y="299"/>
                  </a:lnTo>
                  <a:lnTo>
                    <a:pt x="43" y="274"/>
                  </a:lnTo>
                  <a:lnTo>
                    <a:pt x="65" y="252"/>
                  </a:lnTo>
                  <a:lnTo>
                    <a:pt x="91" y="232"/>
                  </a:lnTo>
                  <a:lnTo>
                    <a:pt x="158" y="192"/>
                  </a:lnTo>
                  <a:lnTo>
                    <a:pt x="226" y="154"/>
                  </a:lnTo>
                  <a:lnTo>
                    <a:pt x="292" y="112"/>
                  </a:lnTo>
                  <a:lnTo>
                    <a:pt x="301" y="107"/>
                  </a:lnTo>
                  <a:lnTo>
                    <a:pt x="312" y="100"/>
                  </a:lnTo>
                  <a:lnTo>
                    <a:pt x="327" y="91"/>
                  </a:lnTo>
                  <a:lnTo>
                    <a:pt x="343" y="80"/>
                  </a:lnTo>
                  <a:lnTo>
                    <a:pt x="360" y="68"/>
                  </a:lnTo>
                  <a:lnTo>
                    <a:pt x="378" y="55"/>
                  </a:lnTo>
                  <a:lnTo>
                    <a:pt x="395" y="42"/>
                  </a:lnTo>
                  <a:lnTo>
                    <a:pt x="409" y="29"/>
                  </a:lnTo>
                  <a:lnTo>
                    <a:pt x="421" y="18"/>
                  </a:lnTo>
                  <a:lnTo>
                    <a:pt x="428" y="9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5391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44" name="Freeform 21"/>
            <p:cNvSpPr>
              <a:spLocks/>
            </p:cNvSpPr>
            <p:nvPr/>
          </p:nvSpPr>
          <p:spPr bwMode="auto">
            <a:xfrm>
              <a:off x="11512848" y="16851"/>
              <a:ext cx="159390" cy="336902"/>
            </a:xfrm>
            <a:custGeom>
              <a:avLst/>
              <a:gdLst>
                <a:gd name="T0" fmla="*/ 57649 w 1117"/>
                <a:gd name="T1" fmla="*/ 4138 h 2361"/>
                <a:gd name="T2" fmla="*/ 56222 w 1117"/>
                <a:gd name="T3" fmla="*/ 15982 h 2361"/>
                <a:gd name="T4" fmla="*/ 55936 w 1117"/>
                <a:gd name="T5" fmla="*/ 30822 h 2361"/>
                <a:gd name="T6" fmla="*/ 56507 w 1117"/>
                <a:gd name="T7" fmla="*/ 44663 h 2361"/>
                <a:gd name="T8" fmla="*/ 57221 w 1117"/>
                <a:gd name="T9" fmla="*/ 53368 h 2361"/>
                <a:gd name="T10" fmla="*/ 59932 w 1117"/>
                <a:gd name="T11" fmla="*/ 61929 h 2361"/>
                <a:gd name="T12" fmla="*/ 65497 w 1117"/>
                <a:gd name="T13" fmla="*/ 76199 h 2361"/>
                <a:gd name="T14" fmla="*/ 73630 w 1117"/>
                <a:gd name="T15" fmla="*/ 94892 h 2361"/>
                <a:gd name="T16" fmla="*/ 83334 w 1117"/>
                <a:gd name="T17" fmla="*/ 116296 h 2361"/>
                <a:gd name="T18" fmla="*/ 93893 w 1117"/>
                <a:gd name="T19" fmla="*/ 139555 h 2361"/>
                <a:gd name="T20" fmla="*/ 104738 w 1117"/>
                <a:gd name="T21" fmla="*/ 162815 h 2361"/>
                <a:gd name="T22" fmla="*/ 115297 w 1117"/>
                <a:gd name="T23" fmla="*/ 185075 h 2361"/>
                <a:gd name="T24" fmla="*/ 124715 w 1117"/>
                <a:gd name="T25" fmla="*/ 204767 h 2361"/>
                <a:gd name="T26" fmla="*/ 132278 w 1117"/>
                <a:gd name="T27" fmla="*/ 220463 h 2361"/>
                <a:gd name="T28" fmla="*/ 137415 w 1117"/>
                <a:gd name="T29" fmla="*/ 230880 h 2361"/>
                <a:gd name="T30" fmla="*/ 139127 w 1117"/>
                <a:gd name="T31" fmla="*/ 234733 h 2361"/>
                <a:gd name="T32" fmla="*/ 143265 w 1117"/>
                <a:gd name="T33" fmla="*/ 242438 h 2361"/>
                <a:gd name="T34" fmla="*/ 149401 w 1117"/>
                <a:gd name="T35" fmla="*/ 253140 h 2361"/>
                <a:gd name="T36" fmla="*/ 155395 w 1117"/>
                <a:gd name="T37" fmla="*/ 265412 h 2361"/>
                <a:gd name="T38" fmla="*/ 159105 w 1117"/>
                <a:gd name="T39" fmla="*/ 276685 h 2361"/>
                <a:gd name="T40" fmla="*/ 158106 w 1117"/>
                <a:gd name="T41" fmla="*/ 285389 h 2361"/>
                <a:gd name="T42" fmla="*/ 155109 w 1117"/>
                <a:gd name="T43" fmla="*/ 288529 h 2361"/>
                <a:gd name="T44" fmla="*/ 148973 w 1117"/>
                <a:gd name="T45" fmla="*/ 294094 h 2361"/>
                <a:gd name="T46" fmla="*/ 139555 w 1117"/>
                <a:gd name="T47" fmla="*/ 302370 h 2361"/>
                <a:gd name="T48" fmla="*/ 127997 w 1117"/>
                <a:gd name="T49" fmla="*/ 312216 h 2361"/>
                <a:gd name="T50" fmla="*/ 116724 w 1117"/>
                <a:gd name="T51" fmla="*/ 322062 h 2361"/>
                <a:gd name="T52" fmla="*/ 107021 w 1117"/>
                <a:gd name="T53" fmla="*/ 330338 h 2361"/>
                <a:gd name="T54" fmla="*/ 101028 w 1117"/>
                <a:gd name="T55" fmla="*/ 335760 h 2361"/>
                <a:gd name="T56" fmla="*/ 100742 w 1117"/>
                <a:gd name="T57" fmla="*/ 335190 h 2361"/>
                <a:gd name="T58" fmla="*/ 102883 w 1117"/>
                <a:gd name="T59" fmla="*/ 325344 h 2361"/>
                <a:gd name="T60" fmla="*/ 103596 w 1117"/>
                <a:gd name="T61" fmla="*/ 311074 h 2361"/>
                <a:gd name="T62" fmla="*/ 103026 w 1117"/>
                <a:gd name="T63" fmla="*/ 296377 h 2361"/>
                <a:gd name="T64" fmla="*/ 102312 w 1117"/>
                <a:gd name="T65" fmla="*/ 285532 h 2361"/>
                <a:gd name="T66" fmla="*/ 100742 w 1117"/>
                <a:gd name="T67" fmla="*/ 278540 h 2361"/>
                <a:gd name="T68" fmla="*/ 96034 w 1117"/>
                <a:gd name="T69" fmla="*/ 265983 h 2361"/>
                <a:gd name="T70" fmla="*/ 88613 w 1117"/>
                <a:gd name="T71" fmla="*/ 248574 h 2361"/>
                <a:gd name="T72" fmla="*/ 79481 w 1117"/>
                <a:gd name="T73" fmla="*/ 227883 h 2361"/>
                <a:gd name="T74" fmla="*/ 69064 w 1117"/>
                <a:gd name="T75" fmla="*/ 205052 h 2361"/>
                <a:gd name="T76" fmla="*/ 58077 w 1117"/>
                <a:gd name="T77" fmla="*/ 181650 h 2361"/>
                <a:gd name="T78" fmla="*/ 47375 w 1117"/>
                <a:gd name="T79" fmla="*/ 158962 h 2361"/>
                <a:gd name="T80" fmla="*/ 37529 w 1117"/>
                <a:gd name="T81" fmla="*/ 138414 h 2361"/>
                <a:gd name="T82" fmla="*/ 29395 w 1117"/>
                <a:gd name="T83" fmla="*/ 121148 h 2361"/>
                <a:gd name="T84" fmla="*/ 23402 w 1117"/>
                <a:gd name="T85" fmla="*/ 108733 h 2361"/>
                <a:gd name="T86" fmla="*/ 20405 w 1117"/>
                <a:gd name="T87" fmla="*/ 102597 h 2361"/>
                <a:gd name="T88" fmla="*/ 17837 w 1117"/>
                <a:gd name="T89" fmla="*/ 97460 h 2361"/>
                <a:gd name="T90" fmla="*/ 12129 w 1117"/>
                <a:gd name="T91" fmla="*/ 87472 h 2361"/>
                <a:gd name="T92" fmla="*/ 5850 w 1117"/>
                <a:gd name="T93" fmla="*/ 75628 h 2361"/>
                <a:gd name="T94" fmla="*/ 1284 w 1117"/>
                <a:gd name="T95" fmla="*/ 63927 h 2361"/>
                <a:gd name="T96" fmla="*/ 143 w 1117"/>
                <a:gd name="T97" fmla="*/ 54081 h 2361"/>
                <a:gd name="T98" fmla="*/ 3139 w 1117"/>
                <a:gd name="T99" fmla="*/ 49087 h 2361"/>
                <a:gd name="T100" fmla="*/ 7706 w 1117"/>
                <a:gd name="T101" fmla="*/ 45092 h 2361"/>
                <a:gd name="T102" fmla="*/ 16553 w 1117"/>
                <a:gd name="T103" fmla="*/ 37529 h 2361"/>
                <a:gd name="T104" fmla="*/ 27397 w 1117"/>
                <a:gd name="T105" fmla="*/ 27968 h 2361"/>
                <a:gd name="T106" fmla="*/ 38956 w 1117"/>
                <a:gd name="T107" fmla="*/ 17980 h 2361"/>
                <a:gd name="T108" fmla="*/ 49372 w 1117"/>
                <a:gd name="T109" fmla="*/ 8990 h 2361"/>
                <a:gd name="T110" fmla="*/ 56935 w 1117"/>
                <a:gd name="T111" fmla="*/ 2426 h 2361"/>
                <a:gd name="T112" fmla="*/ 59646 w 1117"/>
                <a:gd name="T113" fmla="*/ 0 h 236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117" h="2361">
                  <a:moveTo>
                    <a:pt x="418" y="0"/>
                  </a:moveTo>
                  <a:lnTo>
                    <a:pt x="411" y="11"/>
                  </a:lnTo>
                  <a:lnTo>
                    <a:pt x="404" y="29"/>
                  </a:lnTo>
                  <a:lnTo>
                    <a:pt x="400" y="53"/>
                  </a:lnTo>
                  <a:lnTo>
                    <a:pt x="396" y="80"/>
                  </a:lnTo>
                  <a:lnTo>
                    <a:pt x="394" y="112"/>
                  </a:lnTo>
                  <a:lnTo>
                    <a:pt x="392" y="145"/>
                  </a:lnTo>
                  <a:lnTo>
                    <a:pt x="391" y="181"/>
                  </a:lnTo>
                  <a:lnTo>
                    <a:pt x="392" y="216"/>
                  </a:lnTo>
                  <a:lnTo>
                    <a:pt x="392" y="251"/>
                  </a:lnTo>
                  <a:lnTo>
                    <a:pt x="394" y="284"/>
                  </a:lnTo>
                  <a:lnTo>
                    <a:pt x="396" y="313"/>
                  </a:lnTo>
                  <a:lnTo>
                    <a:pt x="397" y="339"/>
                  </a:lnTo>
                  <a:lnTo>
                    <a:pt x="400" y="360"/>
                  </a:lnTo>
                  <a:lnTo>
                    <a:pt x="401" y="374"/>
                  </a:lnTo>
                  <a:lnTo>
                    <a:pt x="405" y="388"/>
                  </a:lnTo>
                  <a:lnTo>
                    <a:pt x="411" y="409"/>
                  </a:lnTo>
                  <a:lnTo>
                    <a:pt x="420" y="434"/>
                  </a:lnTo>
                  <a:lnTo>
                    <a:pt x="431" y="464"/>
                  </a:lnTo>
                  <a:lnTo>
                    <a:pt x="444" y="497"/>
                  </a:lnTo>
                  <a:lnTo>
                    <a:pt x="459" y="534"/>
                  </a:lnTo>
                  <a:lnTo>
                    <a:pt x="476" y="575"/>
                  </a:lnTo>
                  <a:lnTo>
                    <a:pt x="495" y="618"/>
                  </a:lnTo>
                  <a:lnTo>
                    <a:pt x="516" y="665"/>
                  </a:lnTo>
                  <a:lnTo>
                    <a:pt x="537" y="713"/>
                  </a:lnTo>
                  <a:lnTo>
                    <a:pt x="560" y="764"/>
                  </a:lnTo>
                  <a:lnTo>
                    <a:pt x="584" y="815"/>
                  </a:lnTo>
                  <a:lnTo>
                    <a:pt x="608" y="869"/>
                  </a:lnTo>
                  <a:lnTo>
                    <a:pt x="633" y="923"/>
                  </a:lnTo>
                  <a:lnTo>
                    <a:pt x="658" y="978"/>
                  </a:lnTo>
                  <a:lnTo>
                    <a:pt x="684" y="1033"/>
                  </a:lnTo>
                  <a:lnTo>
                    <a:pt x="710" y="1087"/>
                  </a:lnTo>
                  <a:lnTo>
                    <a:pt x="734" y="1141"/>
                  </a:lnTo>
                  <a:lnTo>
                    <a:pt x="760" y="1194"/>
                  </a:lnTo>
                  <a:lnTo>
                    <a:pt x="785" y="1246"/>
                  </a:lnTo>
                  <a:lnTo>
                    <a:pt x="808" y="1297"/>
                  </a:lnTo>
                  <a:lnTo>
                    <a:pt x="832" y="1345"/>
                  </a:lnTo>
                  <a:lnTo>
                    <a:pt x="853" y="1392"/>
                  </a:lnTo>
                  <a:lnTo>
                    <a:pt x="874" y="1435"/>
                  </a:lnTo>
                  <a:lnTo>
                    <a:pt x="894" y="1474"/>
                  </a:lnTo>
                  <a:lnTo>
                    <a:pt x="911" y="1512"/>
                  </a:lnTo>
                  <a:lnTo>
                    <a:pt x="927" y="1545"/>
                  </a:lnTo>
                  <a:lnTo>
                    <a:pt x="942" y="1574"/>
                  </a:lnTo>
                  <a:lnTo>
                    <a:pt x="953" y="1598"/>
                  </a:lnTo>
                  <a:lnTo>
                    <a:pt x="963" y="1618"/>
                  </a:lnTo>
                  <a:lnTo>
                    <a:pt x="970" y="1632"/>
                  </a:lnTo>
                  <a:lnTo>
                    <a:pt x="974" y="1641"/>
                  </a:lnTo>
                  <a:lnTo>
                    <a:pt x="975" y="1645"/>
                  </a:lnTo>
                  <a:lnTo>
                    <a:pt x="983" y="1660"/>
                  </a:lnTo>
                  <a:lnTo>
                    <a:pt x="992" y="1678"/>
                  </a:lnTo>
                  <a:lnTo>
                    <a:pt x="1004" y="1699"/>
                  </a:lnTo>
                  <a:lnTo>
                    <a:pt x="1017" y="1723"/>
                  </a:lnTo>
                  <a:lnTo>
                    <a:pt x="1032" y="1748"/>
                  </a:lnTo>
                  <a:lnTo>
                    <a:pt x="1047" y="1774"/>
                  </a:lnTo>
                  <a:lnTo>
                    <a:pt x="1062" y="1803"/>
                  </a:lnTo>
                  <a:lnTo>
                    <a:pt x="1075" y="1831"/>
                  </a:lnTo>
                  <a:lnTo>
                    <a:pt x="1089" y="1860"/>
                  </a:lnTo>
                  <a:lnTo>
                    <a:pt x="1100" y="1887"/>
                  </a:lnTo>
                  <a:lnTo>
                    <a:pt x="1108" y="1914"/>
                  </a:lnTo>
                  <a:lnTo>
                    <a:pt x="1115" y="1939"/>
                  </a:lnTo>
                  <a:lnTo>
                    <a:pt x="1117" y="1962"/>
                  </a:lnTo>
                  <a:lnTo>
                    <a:pt x="1115" y="1983"/>
                  </a:lnTo>
                  <a:lnTo>
                    <a:pt x="1108" y="2000"/>
                  </a:lnTo>
                  <a:lnTo>
                    <a:pt x="1097" y="2015"/>
                  </a:lnTo>
                  <a:lnTo>
                    <a:pt x="1095" y="2016"/>
                  </a:lnTo>
                  <a:lnTo>
                    <a:pt x="1087" y="2022"/>
                  </a:lnTo>
                  <a:lnTo>
                    <a:pt x="1076" y="2032"/>
                  </a:lnTo>
                  <a:lnTo>
                    <a:pt x="1063" y="2045"/>
                  </a:lnTo>
                  <a:lnTo>
                    <a:pt x="1044" y="2061"/>
                  </a:lnTo>
                  <a:lnTo>
                    <a:pt x="1025" y="2078"/>
                  </a:lnTo>
                  <a:lnTo>
                    <a:pt x="1001" y="2098"/>
                  </a:lnTo>
                  <a:lnTo>
                    <a:pt x="978" y="2119"/>
                  </a:lnTo>
                  <a:lnTo>
                    <a:pt x="952" y="2141"/>
                  </a:lnTo>
                  <a:lnTo>
                    <a:pt x="925" y="2164"/>
                  </a:lnTo>
                  <a:lnTo>
                    <a:pt x="897" y="2188"/>
                  </a:lnTo>
                  <a:lnTo>
                    <a:pt x="870" y="2211"/>
                  </a:lnTo>
                  <a:lnTo>
                    <a:pt x="844" y="2235"/>
                  </a:lnTo>
                  <a:lnTo>
                    <a:pt x="818" y="2257"/>
                  </a:lnTo>
                  <a:lnTo>
                    <a:pt x="794" y="2278"/>
                  </a:lnTo>
                  <a:lnTo>
                    <a:pt x="771" y="2298"/>
                  </a:lnTo>
                  <a:lnTo>
                    <a:pt x="750" y="2315"/>
                  </a:lnTo>
                  <a:lnTo>
                    <a:pt x="733" y="2331"/>
                  </a:lnTo>
                  <a:lnTo>
                    <a:pt x="718" y="2343"/>
                  </a:lnTo>
                  <a:lnTo>
                    <a:pt x="708" y="2353"/>
                  </a:lnTo>
                  <a:lnTo>
                    <a:pt x="701" y="2358"/>
                  </a:lnTo>
                  <a:lnTo>
                    <a:pt x="699" y="2361"/>
                  </a:lnTo>
                  <a:lnTo>
                    <a:pt x="706" y="2349"/>
                  </a:lnTo>
                  <a:lnTo>
                    <a:pt x="712" y="2332"/>
                  </a:lnTo>
                  <a:lnTo>
                    <a:pt x="717" y="2309"/>
                  </a:lnTo>
                  <a:lnTo>
                    <a:pt x="721" y="2280"/>
                  </a:lnTo>
                  <a:lnTo>
                    <a:pt x="723" y="2250"/>
                  </a:lnTo>
                  <a:lnTo>
                    <a:pt x="725" y="2215"/>
                  </a:lnTo>
                  <a:lnTo>
                    <a:pt x="726" y="2180"/>
                  </a:lnTo>
                  <a:lnTo>
                    <a:pt x="725" y="2145"/>
                  </a:lnTo>
                  <a:lnTo>
                    <a:pt x="725" y="2110"/>
                  </a:lnTo>
                  <a:lnTo>
                    <a:pt x="722" y="2077"/>
                  </a:lnTo>
                  <a:lnTo>
                    <a:pt x="721" y="2047"/>
                  </a:lnTo>
                  <a:lnTo>
                    <a:pt x="720" y="2021"/>
                  </a:lnTo>
                  <a:lnTo>
                    <a:pt x="717" y="2001"/>
                  </a:lnTo>
                  <a:lnTo>
                    <a:pt x="716" y="1987"/>
                  </a:lnTo>
                  <a:lnTo>
                    <a:pt x="712" y="1972"/>
                  </a:lnTo>
                  <a:lnTo>
                    <a:pt x="706" y="1952"/>
                  </a:lnTo>
                  <a:lnTo>
                    <a:pt x="697" y="1927"/>
                  </a:lnTo>
                  <a:lnTo>
                    <a:pt x="686" y="1898"/>
                  </a:lnTo>
                  <a:lnTo>
                    <a:pt x="673" y="1864"/>
                  </a:lnTo>
                  <a:lnTo>
                    <a:pt x="658" y="1826"/>
                  </a:lnTo>
                  <a:lnTo>
                    <a:pt x="641" y="1787"/>
                  </a:lnTo>
                  <a:lnTo>
                    <a:pt x="621" y="1742"/>
                  </a:lnTo>
                  <a:lnTo>
                    <a:pt x="601" y="1697"/>
                  </a:lnTo>
                  <a:lnTo>
                    <a:pt x="580" y="1647"/>
                  </a:lnTo>
                  <a:lnTo>
                    <a:pt x="557" y="1597"/>
                  </a:lnTo>
                  <a:lnTo>
                    <a:pt x="533" y="1545"/>
                  </a:lnTo>
                  <a:lnTo>
                    <a:pt x="508" y="1492"/>
                  </a:lnTo>
                  <a:lnTo>
                    <a:pt x="484" y="1437"/>
                  </a:lnTo>
                  <a:lnTo>
                    <a:pt x="459" y="1383"/>
                  </a:lnTo>
                  <a:lnTo>
                    <a:pt x="433" y="1328"/>
                  </a:lnTo>
                  <a:lnTo>
                    <a:pt x="407" y="1273"/>
                  </a:lnTo>
                  <a:lnTo>
                    <a:pt x="381" y="1219"/>
                  </a:lnTo>
                  <a:lnTo>
                    <a:pt x="357" y="1166"/>
                  </a:lnTo>
                  <a:lnTo>
                    <a:pt x="332" y="1114"/>
                  </a:lnTo>
                  <a:lnTo>
                    <a:pt x="308" y="1064"/>
                  </a:lnTo>
                  <a:lnTo>
                    <a:pt x="285" y="1015"/>
                  </a:lnTo>
                  <a:lnTo>
                    <a:pt x="263" y="970"/>
                  </a:lnTo>
                  <a:lnTo>
                    <a:pt x="243" y="927"/>
                  </a:lnTo>
                  <a:lnTo>
                    <a:pt x="223" y="886"/>
                  </a:lnTo>
                  <a:lnTo>
                    <a:pt x="206" y="849"/>
                  </a:lnTo>
                  <a:lnTo>
                    <a:pt x="190" y="815"/>
                  </a:lnTo>
                  <a:lnTo>
                    <a:pt x="175" y="787"/>
                  </a:lnTo>
                  <a:lnTo>
                    <a:pt x="164" y="762"/>
                  </a:lnTo>
                  <a:lnTo>
                    <a:pt x="154" y="743"/>
                  </a:lnTo>
                  <a:lnTo>
                    <a:pt x="147" y="728"/>
                  </a:lnTo>
                  <a:lnTo>
                    <a:pt x="143" y="719"/>
                  </a:lnTo>
                  <a:lnTo>
                    <a:pt x="142" y="716"/>
                  </a:lnTo>
                  <a:lnTo>
                    <a:pt x="134" y="701"/>
                  </a:lnTo>
                  <a:lnTo>
                    <a:pt x="125" y="683"/>
                  </a:lnTo>
                  <a:lnTo>
                    <a:pt x="113" y="662"/>
                  </a:lnTo>
                  <a:lnTo>
                    <a:pt x="100" y="639"/>
                  </a:lnTo>
                  <a:lnTo>
                    <a:pt x="85" y="613"/>
                  </a:lnTo>
                  <a:lnTo>
                    <a:pt x="70" y="586"/>
                  </a:lnTo>
                  <a:lnTo>
                    <a:pt x="55" y="558"/>
                  </a:lnTo>
                  <a:lnTo>
                    <a:pt x="41" y="530"/>
                  </a:lnTo>
                  <a:lnTo>
                    <a:pt x="28" y="502"/>
                  </a:lnTo>
                  <a:lnTo>
                    <a:pt x="17" y="474"/>
                  </a:lnTo>
                  <a:lnTo>
                    <a:pt x="9" y="448"/>
                  </a:lnTo>
                  <a:lnTo>
                    <a:pt x="2" y="422"/>
                  </a:lnTo>
                  <a:lnTo>
                    <a:pt x="0" y="398"/>
                  </a:lnTo>
                  <a:lnTo>
                    <a:pt x="1" y="379"/>
                  </a:lnTo>
                  <a:lnTo>
                    <a:pt x="9" y="360"/>
                  </a:lnTo>
                  <a:lnTo>
                    <a:pt x="20" y="346"/>
                  </a:lnTo>
                  <a:lnTo>
                    <a:pt x="22" y="344"/>
                  </a:lnTo>
                  <a:lnTo>
                    <a:pt x="29" y="338"/>
                  </a:lnTo>
                  <a:lnTo>
                    <a:pt x="41" y="328"/>
                  </a:lnTo>
                  <a:lnTo>
                    <a:pt x="54" y="316"/>
                  </a:lnTo>
                  <a:lnTo>
                    <a:pt x="73" y="301"/>
                  </a:lnTo>
                  <a:lnTo>
                    <a:pt x="92" y="282"/>
                  </a:lnTo>
                  <a:lnTo>
                    <a:pt x="116" y="263"/>
                  </a:lnTo>
                  <a:lnTo>
                    <a:pt x="139" y="242"/>
                  </a:lnTo>
                  <a:lnTo>
                    <a:pt x="165" y="219"/>
                  </a:lnTo>
                  <a:lnTo>
                    <a:pt x="192" y="196"/>
                  </a:lnTo>
                  <a:lnTo>
                    <a:pt x="220" y="172"/>
                  </a:lnTo>
                  <a:lnTo>
                    <a:pt x="247" y="149"/>
                  </a:lnTo>
                  <a:lnTo>
                    <a:pt x="273" y="126"/>
                  </a:lnTo>
                  <a:lnTo>
                    <a:pt x="299" y="103"/>
                  </a:lnTo>
                  <a:lnTo>
                    <a:pt x="323" y="82"/>
                  </a:lnTo>
                  <a:lnTo>
                    <a:pt x="346" y="63"/>
                  </a:lnTo>
                  <a:lnTo>
                    <a:pt x="367" y="45"/>
                  </a:lnTo>
                  <a:lnTo>
                    <a:pt x="384" y="31"/>
                  </a:lnTo>
                  <a:lnTo>
                    <a:pt x="399" y="17"/>
                  </a:lnTo>
                  <a:lnTo>
                    <a:pt x="408" y="8"/>
                  </a:lnTo>
                  <a:lnTo>
                    <a:pt x="416" y="2"/>
                  </a:lnTo>
                  <a:lnTo>
                    <a:pt x="418" y="0"/>
                  </a:lnTo>
                  <a:close/>
                </a:path>
              </a:pathLst>
            </a:custGeom>
            <a:solidFill>
              <a:srgbClr val="5391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030" name="Rectangle 4"/>
          <p:cNvSpPr>
            <a:spLocks noChangeArrowheads="1"/>
          </p:cNvSpPr>
          <p:nvPr/>
        </p:nvSpPr>
        <p:spPr bwMode="auto">
          <a:xfrm>
            <a:off x="11791949" y="6542088"/>
            <a:ext cx="3826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fld id="{29A605C7-7B8D-E64C-8FF6-02688FCF1356}" type="slidenum">
              <a:rPr lang="en-US" sz="900">
                <a:solidFill>
                  <a:srgbClr val="404040"/>
                </a:solidFill>
                <a:latin typeface="Helvetica" charset="0"/>
                <a:cs typeface="Helvetica" charset="0"/>
              </a:rPr>
              <a:pPr/>
              <a:t>‹#›</a:t>
            </a:fld>
            <a:endParaRPr lang="en-US" sz="900">
              <a:solidFill>
                <a:srgbClr val="404040"/>
              </a:solidFill>
              <a:latin typeface="Helvetica" charset="0"/>
              <a:cs typeface="Helvetica" charset="0"/>
            </a:endParaRPr>
          </a:p>
        </p:txBody>
      </p:sp>
      <p:sp>
        <p:nvSpPr>
          <p:cNvPr id="1031" name="TextBox 20"/>
          <p:cNvSpPr txBox="1">
            <a:spLocks noChangeArrowheads="1"/>
          </p:cNvSpPr>
          <p:nvPr/>
        </p:nvSpPr>
        <p:spPr bwMode="auto">
          <a:xfrm>
            <a:off x="571094" y="6553200"/>
            <a:ext cx="18758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800">
                <a:solidFill>
                  <a:srgbClr val="404040"/>
                </a:solidFill>
              </a:rPr>
              <a:t>© 2018 SirionLabs Private Limited</a:t>
            </a:r>
          </a:p>
        </p:txBody>
      </p:sp>
    </p:spTree>
    <p:extLst>
      <p:ext uri="{BB962C8B-B14F-4D97-AF65-F5344CB8AC3E}">
        <p14:creationId xmlns:p14="http://schemas.microsoft.com/office/powerpoint/2010/main" val="592455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</p:sldLayoutIdLst>
  <p:transition spd="med">
    <p:fade/>
  </p:transition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Helvetica"/>
          <a:ea typeface="ＭＳ Ｐゴシック" charset="0"/>
          <a:cs typeface="Helvetica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Helvetica" charset="0"/>
          <a:ea typeface="ＭＳ Ｐゴシック" charset="0"/>
        </a:defRPr>
      </a:lvl9pPr>
    </p:titleStyle>
    <p:bodyStyle>
      <a:lvl1pPr marL="365125" indent="-255588" algn="l" rtl="0" eaLnBrk="1" fontAlgn="base" hangingPunct="1">
        <a:spcBef>
          <a:spcPts val="300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2800" kern="1200">
          <a:solidFill>
            <a:srgbClr val="262626"/>
          </a:solidFill>
          <a:latin typeface="Helvetica"/>
          <a:ea typeface="ＭＳ Ｐゴシック" charset="0"/>
          <a:cs typeface="Helvetica"/>
        </a:defRPr>
      </a:lvl1pPr>
      <a:lvl2pPr marL="657225" indent="-246063" algn="l" rtl="0" eaLnBrk="1" fontAlgn="base" hangingPunct="1">
        <a:spcBef>
          <a:spcPts val="300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2600" kern="1200">
          <a:solidFill>
            <a:srgbClr val="262626"/>
          </a:solidFill>
          <a:latin typeface="Helvetica"/>
          <a:ea typeface="ＭＳ Ｐゴシック" charset="0"/>
          <a:cs typeface="Helvetica"/>
        </a:defRPr>
      </a:lvl2pPr>
      <a:lvl3pPr marL="922338" indent="-219075" algn="l" rtl="0" eaLnBrk="1" fontAlgn="base" hangingPunct="1">
        <a:spcBef>
          <a:spcPts val="300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2400" kern="1200">
          <a:solidFill>
            <a:srgbClr val="262626"/>
          </a:solidFill>
          <a:latin typeface="Helvetica"/>
          <a:ea typeface="ＭＳ Ｐゴシック" charset="0"/>
          <a:cs typeface="Helvetica"/>
        </a:defRPr>
      </a:lvl3pPr>
      <a:lvl4pPr marL="1179513" indent="-200025" algn="l" rtl="0" eaLnBrk="1" fontAlgn="base" hangingPunct="1">
        <a:spcBef>
          <a:spcPts val="300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2200" kern="1200">
          <a:solidFill>
            <a:srgbClr val="262626"/>
          </a:solidFill>
          <a:latin typeface="Helvetica"/>
          <a:ea typeface="ＭＳ Ｐゴシック" charset="0"/>
          <a:cs typeface="Helvetica"/>
        </a:defRPr>
      </a:lvl4pPr>
      <a:lvl5pPr marL="1389063" indent="-182563" algn="l" rtl="0" eaLnBrk="1" fontAlgn="base" hangingPunct="1">
        <a:spcBef>
          <a:spcPts val="300"/>
        </a:spcBef>
        <a:spcAft>
          <a:spcPct val="0"/>
        </a:spcAft>
        <a:buClr>
          <a:srgbClr val="539132"/>
        </a:buClr>
        <a:buSzPct val="95000"/>
        <a:buFont typeface="Arial" charset="0"/>
        <a:buChar char="•"/>
        <a:defRPr sz="2000" kern="1200">
          <a:solidFill>
            <a:srgbClr val="262626"/>
          </a:solidFill>
          <a:latin typeface="Helvetica"/>
          <a:ea typeface="ＭＳ Ｐゴシック" charset="0"/>
          <a:cs typeface="Helvetica"/>
        </a:defRPr>
      </a:lvl5pPr>
      <a:lvl6pPr marL="1609344" indent="-182880" algn="l" rtl="0" eaLnBrk="1" latinLnBrk="0" hangingPunct="1">
        <a:spcBef>
          <a:spcPts val="300"/>
        </a:spcBef>
        <a:buClr>
          <a:schemeClr val="accent1"/>
        </a:buClr>
        <a:buFont typeface="Wingdings 2" panose="05020102010507070707" pitchFamily="18" charset="2"/>
        <a:buChar char="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1"/>
        </a:buClr>
        <a:buFont typeface="Wingdings 2" panose="05020102010507070707" pitchFamily="18" charset="2"/>
        <a:buChar char="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1"/>
        </a:buClr>
        <a:buFont typeface="Wingdings 2" panose="05020102010507070707" pitchFamily="18" charset="2"/>
        <a:buChar char=""/>
        <a:defRPr kumimoji="0"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1"/>
        </a:buClr>
        <a:buFont typeface="Wingdings 2" panose="05020102010507070707" pitchFamily="18" charset="2"/>
        <a:buChar char="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91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4" r:id="rId2"/>
    <p:sldLayoutId id="2147483927" r:id="rId3"/>
    <p:sldLayoutId id="2147483926" r:id="rId4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2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7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7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7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0.png"/><Relationship Id="rId18" Type="http://schemas.openxmlformats.org/officeDocument/2006/relationships/image" Target="../media/image45.svg"/><Relationship Id="rId26" Type="http://schemas.openxmlformats.org/officeDocument/2006/relationships/image" Target="../media/image53.png"/><Relationship Id="rId21" Type="http://schemas.openxmlformats.org/officeDocument/2006/relationships/image" Target="../media/image48.png"/><Relationship Id="rId34" Type="http://schemas.openxmlformats.org/officeDocument/2006/relationships/image" Target="../media/image61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33" Type="http://schemas.openxmlformats.org/officeDocument/2006/relationships/image" Target="../media/image60.svg"/><Relationship Id="rId38" Type="http://schemas.microsoft.com/office/2007/relationships/hdphoto" Target="../media/hdphoto1.wdp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3.svg"/><Relationship Id="rId20" Type="http://schemas.openxmlformats.org/officeDocument/2006/relationships/image" Target="../media/image47.svg"/><Relationship Id="rId29" Type="http://schemas.openxmlformats.org/officeDocument/2006/relationships/image" Target="../media/image56.png"/><Relationship Id="rId1" Type="http://schemas.openxmlformats.org/officeDocument/2006/relationships/slideLayout" Target="../slideLayouts/slideLayout235.xml"/><Relationship Id="rId6" Type="http://schemas.openxmlformats.org/officeDocument/2006/relationships/image" Target="../media/image33.jpeg"/><Relationship Id="rId11" Type="http://schemas.openxmlformats.org/officeDocument/2006/relationships/image" Target="../media/image38.png"/><Relationship Id="rId24" Type="http://schemas.openxmlformats.org/officeDocument/2006/relationships/image" Target="../media/image51.svg"/><Relationship Id="rId32" Type="http://schemas.openxmlformats.org/officeDocument/2006/relationships/image" Target="../media/image59.png"/><Relationship Id="rId37" Type="http://schemas.openxmlformats.org/officeDocument/2006/relationships/image" Target="../media/image64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36" Type="http://schemas.openxmlformats.org/officeDocument/2006/relationships/image" Target="../media/image63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31" Type="http://schemas.openxmlformats.org/officeDocument/2006/relationships/image" Target="../media/image58.svg"/><Relationship Id="rId4" Type="http://schemas.openxmlformats.org/officeDocument/2006/relationships/image" Target="../media/image17.sv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svg"/><Relationship Id="rId27" Type="http://schemas.openxmlformats.org/officeDocument/2006/relationships/image" Target="../media/image54.svg"/><Relationship Id="rId30" Type="http://schemas.openxmlformats.org/officeDocument/2006/relationships/image" Target="../media/image57.png"/><Relationship Id="rId35" Type="http://schemas.openxmlformats.org/officeDocument/2006/relationships/image" Target="../media/image62.svg"/><Relationship Id="rId8" Type="http://schemas.openxmlformats.org/officeDocument/2006/relationships/image" Target="../media/image35.emf"/><Relationship Id="rId3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irionlabs.com/webinars/rcd-how-bny-mellon-is-building-a-value-driven-procurement-organization" TargetMode="External"/><Relationship Id="rId3" Type="http://schemas.openxmlformats.org/officeDocument/2006/relationships/image" Target="../media/image65.emf"/><Relationship Id="rId7" Type="http://schemas.openxmlformats.org/officeDocument/2006/relationships/image" Target="../media/image67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7.xml"/><Relationship Id="rId6" Type="http://schemas.openxmlformats.org/officeDocument/2006/relationships/image" Target="../media/image66.jpeg"/><Relationship Id="rId5" Type="http://schemas.openxmlformats.org/officeDocument/2006/relationships/hyperlink" Target="https://www.sirionlabs.com/webinars/digital-transformation-of-commercial-contract-management-vodafone-story" TargetMode="External"/><Relationship Id="rId4" Type="http://schemas.openxmlformats.org/officeDocument/2006/relationships/hyperlink" Target="https://www.sirionlabs.com/webinars/raiffeisen-banks-global-contracting-excellence-journey-with-sirionlabs" TargetMode="External"/><Relationship Id="rId9" Type="http://schemas.openxmlformats.org/officeDocument/2006/relationships/image" Target="../media/image6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30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72.png"/><Relationship Id="rId4" Type="http://schemas.openxmlformats.org/officeDocument/2006/relationships/image" Target="../media/image69.png"/><Relationship Id="rId9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Cyrille.scuri@sirionlabs.com&#8203;" TargetMode="External"/><Relationship Id="rId13" Type="http://schemas.openxmlformats.org/officeDocument/2006/relationships/image" Target="../media/image77.png"/><Relationship Id="rId3" Type="http://schemas.openxmlformats.org/officeDocument/2006/relationships/image" Target="../media/image15.png"/><Relationship Id="rId7" Type="http://schemas.openxmlformats.org/officeDocument/2006/relationships/hyperlink" Target="https://www.sirionlabs.com/" TargetMode="External"/><Relationship Id="rId12" Type="http://schemas.openxmlformats.org/officeDocument/2006/relationships/image" Target="../media/image76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2.xml"/><Relationship Id="rId6" Type="http://schemas.openxmlformats.org/officeDocument/2006/relationships/hyperlink" Target="https://twitter.com/sirionlabs?lang=en" TargetMode="External"/><Relationship Id="rId11" Type="http://schemas.openxmlformats.org/officeDocument/2006/relationships/image" Target="../media/image75.png"/><Relationship Id="rId5" Type="http://schemas.openxmlformats.org/officeDocument/2006/relationships/image" Target="../media/image17.svg"/><Relationship Id="rId10" Type="http://schemas.openxmlformats.org/officeDocument/2006/relationships/image" Target="../media/image74.svg"/><Relationship Id="rId4" Type="http://schemas.openxmlformats.org/officeDocument/2006/relationships/image" Target="../media/image16.png"/><Relationship Id="rId9" Type="http://schemas.openxmlformats.org/officeDocument/2006/relationships/image" Target="../media/image7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55EBC79-755A-9142-974C-9609834FF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41" r="12580"/>
          <a:stretch/>
        </p:blipFill>
        <p:spPr bwMode="auto">
          <a:xfrm>
            <a:off x="3990934" y="0"/>
            <a:ext cx="8201066" cy="685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E7E8032-4EA0-4542-96D3-7BA53DB312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96391" y="158996"/>
            <a:ext cx="2683607" cy="8996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9D2B2D-D836-4DCD-8216-723D788F4BA1}"/>
              </a:ext>
            </a:extLst>
          </p:cNvPr>
          <p:cNvSpPr txBox="1"/>
          <p:nvPr/>
        </p:nvSpPr>
        <p:spPr>
          <a:xfrm>
            <a:off x="172720" y="1615440"/>
            <a:ext cx="6682667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cs typeface="Arial" panose="020B0604020202020204" pitchFamily="34" charset="0"/>
              </a:rPr>
              <a:t>Gestion d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cs typeface="Arial" panose="020B0604020202020204" pitchFamily="34" charset="0"/>
              </a:rPr>
              <a:t>Cycle de Vie des Contra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000" b="1" i="0" u="none" strike="noStrike" kern="1200" cap="none" spc="0" normalizeH="0" baseline="0" noProof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cs typeface="Arial" panose="020B0604020202020204" pitchFamily="34" charset="0"/>
              </a:rPr>
              <a:t>Les Avantages d’une solution de Bout-en-Bout </a:t>
            </a:r>
            <a:endParaRPr kumimoji="0" lang="en-IN" sz="3600" b="1" i="0" u="none" strike="noStrike" kern="1200" cap="none" spc="0" normalizeH="0" baseline="0" noProof="0" dirty="0">
              <a:ln>
                <a:noFill/>
              </a:ln>
              <a:solidFill>
                <a:srgbClr val="146D86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pic>
        <p:nvPicPr>
          <p:cNvPr id="8" name="Picture 7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7B915E7-00C1-3DAB-37A8-F42F3F45A0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3072" y="4981414"/>
            <a:ext cx="1032587" cy="1032587"/>
          </a:xfrm>
          <a:prstGeom prst="rect">
            <a:avLst/>
          </a:prstGeom>
        </p:spPr>
      </p:pic>
      <p:pic>
        <p:nvPicPr>
          <p:cNvPr id="10" name="Picture 9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59F64C48-7246-C02F-45F5-FCB303BE71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672" y="4981414"/>
            <a:ext cx="1032587" cy="103258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EDC0634-4410-239C-E45E-69A2540C5393}"/>
              </a:ext>
            </a:extLst>
          </p:cNvPr>
          <p:cNvSpPr txBox="1"/>
          <p:nvPr/>
        </p:nvSpPr>
        <p:spPr>
          <a:xfrm>
            <a:off x="1041400" y="6076992"/>
            <a:ext cx="237913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146D86"/>
                </a:solidFill>
              </a:rPr>
              <a:t>Cyrille Scuri</a:t>
            </a:r>
          </a:p>
          <a:p>
            <a:pPr algn="ctr"/>
            <a:r>
              <a:rPr lang="fr-FR" sz="1600" dirty="0" err="1">
                <a:solidFill>
                  <a:srgbClr val="146D86"/>
                </a:solidFill>
              </a:rPr>
              <a:t>Regional</a:t>
            </a:r>
            <a:r>
              <a:rPr lang="fr-FR" sz="1600" dirty="0">
                <a:solidFill>
                  <a:srgbClr val="146D86"/>
                </a:solidFill>
              </a:rPr>
              <a:t> Vice </a:t>
            </a:r>
            <a:r>
              <a:rPr lang="fr-FR" sz="1600" dirty="0" err="1">
                <a:solidFill>
                  <a:srgbClr val="146D86"/>
                </a:solidFill>
              </a:rPr>
              <a:t>President</a:t>
            </a:r>
            <a:endParaRPr lang="en-US" sz="1600" dirty="0">
              <a:solidFill>
                <a:srgbClr val="146D86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395E75-93CC-EF5B-D5D9-DD8318945D1A}"/>
              </a:ext>
            </a:extLst>
          </p:cNvPr>
          <p:cNvSpPr txBox="1"/>
          <p:nvPr/>
        </p:nvSpPr>
        <p:spPr>
          <a:xfrm>
            <a:off x="3824925" y="6076741"/>
            <a:ext cx="237913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146D86"/>
                </a:solidFill>
              </a:rPr>
              <a:t>Adrien Grenat</a:t>
            </a:r>
          </a:p>
          <a:p>
            <a:pPr algn="ctr"/>
            <a:r>
              <a:rPr lang="fr-FR" sz="1600" dirty="0" err="1">
                <a:solidFill>
                  <a:srgbClr val="146D86"/>
                </a:solidFill>
              </a:rPr>
              <a:t>Director</a:t>
            </a:r>
            <a:r>
              <a:rPr lang="fr-FR" sz="1600" dirty="0">
                <a:solidFill>
                  <a:srgbClr val="146D86"/>
                </a:solidFill>
              </a:rPr>
              <a:t> </a:t>
            </a:r>
            <a:r>
              <a:rPr lang="fr-FR" sz="1600" dirty="0" err="1">
                <a:solidFill>
                  <a:srgbClr val="146D86"/>
                </a:solidFill>
              </a:rPr>
              <a:t>Presales</a:t>
            </a:r>
            <a:endParaRPr lang="en-US" sz="1600" dirty="0">
              <a:solidFill>
                <a:srgbClr val="146D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9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F9D717-1998-7D45-9EBE-55CF8691A10F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800" spc="-13" dirty="0">
                <a:solidFill>
                  <a:srgbClr val="146D86"/>
                </a:solidFill>
                <a:latin typeface="Calibri" panose="020F0502020204030204"/>
              </a:rPr>
              <a:t>Il </a:t>
            </a:r>
            <a:r>
              <a:rPr lang="en-US" sz="2800" kern="800" spc="-13" dirty="0" err="1">
                <a:solidFill>
                  <a:srgbClr val="146D86"/>
                </a:solidFill>
                <a:latin typeface="Calibri" panose="020F0502020204030204"/>
              </a:rPr>
              <a:t>était</a:t>
            </a:r>
            <a:r>
              <a:rPr lang="en-US" sz="2800" kern="800" spc="-13" dirty="0">
                <a:solidFill>
                  <a:srgbClr val="146D86"/>
                </a:solidFill>
                <a:latin typeface="Calibri" panose="020F0502020204030204"/>
              </a:rPr>
              <a:t> </a:t>
            </a:r>
            <a:r>
              <a:rPr lang="en-US" sz="2800" kern="800" spc="-13" dirty="0" err="1">
                <a:solidFill>
                  <a:srgbClr val="146D86"/>
                </a:solidFill>
                <a:latin typeface="Calibri" panose="020F0502020204030204"/>
              </a:rPr>
              <a:t>une</a:t>
            </a:r>
            <a:r>
              <a:rPr lang="en-US" sz="2800" kern="800" spc="-13" dirty="0">
                <a:solidFill>
                  <a:srgbClr val="146D86"/>
                </a:solidFill>
                <a:latin typeface="Calibri" panose="020F0502020204030204"/>
              </a:rPr>
              <a:t> </a:t>
            </a:r>
            <a:r>
              <a:rPr lang="en-US" sz="2800" kern="800" spc="-13" dirty="0" err="1">
                <a:solidFill>
                  <a:srgbClr val="146D86"/>
                </a:solidFill>
                <a:latin typeface="Calibri" panose="020F0502020204030204"/>
              </a:rPr>
              <a:t>fois</a:t>
            </a:r>
            <a:endParaRPr kumimoji="0" lang="en-US" sz="2800" b="0" i="0" u="none" strike="noStrike" kern="800" cap="none" spc="-13" normalizeH="0" baseline="0" dirty="0">
              <a:ln>
                <a:noFill/>
              </a:ln>
              <a:solidFill>
                <a:srgbClr val="146D86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015C65-7278-FAA4-114A-E74BFDF705FB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12E4EE-6303-62A5-D182-CD470DA23DBA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3E7091-9527-8E16-9EE6-37CEE8C326B2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93F6169-B7A5-026E-E478-D6019998BF99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6F7A73D-CAD3-1336-44DA-FB2C2BAEFAFA}"/>
              </a:ext>
            </a:extLst>
          </p:cNvPr>
          <p:cNvSpPr/>
          <p:nvPr/>
        </p:nvSpPr>
        <p:spPr>
          <a:xfrm>
            <a:off x="2622351" y="194459"/>
            <a:ext cx="7886102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800" spc="-13" dirty="0">
                <a:solidFill>
                  <a:srgbClr val="146D86"/>
                </a:solidFill>
                <a:latin typeface="Calibri" panose="020F0502020204030204"/>
              </a:rPr>
              <a:t>– La Gestion du Cycle de Vie des </a:t>
            </a:r>
            <a:r>
              <a:rPr lang="en-US" sz="2800" kern="800" spc="-13" dirty="0" err="1">
                <a:solidFill>
                  <a:srgbClr val="146D86"/>
                </a:solidFill>
                <a:latin typeface="Calibri" panose="020F0502020204030204"/>
              </a:rPr>
              <a:t>Contrats</a:t>
            </a:r>
            <a:r>
              <a:rPr lang="en-US" sz="2800" kern="800" spc="-13" dirty="0">
                <a:solidFill>
                  <a:srgbClr val="146D86"/>
                </a:solidFill>
                <a:latin typeface="Calibri" panose="020F0502020204030204"/>
              </a:rPr>
              <a:t> (CLM)</a:t>
            </a:r>
            <a:endParaRPr kumimoji="0" lang="en-US" sz="2800" b="0" i="0" u="none" strike="noStrike" kern="800" cap="none" spc="-13" normalizeH="0" baseline="0" dirty="0">
              <a:ln>
                <a:noFill/>
              </a:ln>
              <a:solidFill>
                <a:srgbClr val="146D86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69A19EC9-1A2E-8167-4B73-66698A72E8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7520"/>
            <a:ext cx="12192000" cy="5970480"/>
          </a:xfrm>
          <a:prstGeom prst="rect">
            <a:avLst/>
          </a:prstGeom>
        </p:spPr>
      </p:pic>
      <p:sp>
        <p:nvSpPr>
          <p:cNvPr id="5" name="TextBox 20">
            <a:extLst>
              <a:ext uri="{FF2B5EF4-FFF2-40B4-BE49-F238E27FC236}">
                <a16:creationId xmlns:a16="http://schemas.microsoft.com/office/drawing/2014/main" id="{380636EF-D27C-3B7A-AC8F-7C2E71A1A9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0" y="6574815"/>
            <a:ext cx="374653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700">
                <a:solidFill>
                  <a:srgbClr val="404040"/>
                </a:solidFill>
              </a:rPr>
              <a:t>© 2012-22 SirionLabs Pte</a:t>
            </a:r>
            <a:r>
              <a:rPr lang="en-US" sz="700" baseline="0">
                <a:solidFill>
                  <a:srgbClr val="404040"/>
                </a:solidFill>
              </a:rPr>
              <a:t>. Ltd. The contents of this presentation are proprietary and confidential.</a:t>
            </a:r>
            <a:endParaRPr lang="en-US" sz="700">
              <a:solidFill>
                <a:srgbClr val="404040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2C5442-9362-FF85-1C23-15F3AFA447F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6759" y="6540993"/>
            <a:ext cx="882111" cy="275442"/>
          </a:xfrm>
          <a:prstGeom prst="rect">
            <a:avLst/>
          </a:prstGeom>
        </p:spPr>
      </p:pic>
      <p:sp>
        <p:nvSpPr>
          <p:cNvPr id="18" name="Rectangular Callout 19">
            <a:extLst>
              <a:ext uri="{FF2B5EF4-FFF2-40B4-BE49-F238E27FC236}">
                <a16:creationId xmlns:a16="http://schemas.microsoft.com/office/drawing/2014/main" id="{3C0F60BA-DFBF-1EC0-2C16-5C914376BADE}"/>
              </a:ext>
            </a:extLst>
          </p:cNvPr>
          <p:cNvSpPr/>
          <p:nvPr/>
        </p:nvSpPr>
        <p:spPr>
          <a:xfrm>
            <a:off x="3274585" y="4287548"/>
            <a:ext cx="5642830" cy="1919821"/>
          </a:xfrm>
          <a:prstGeom prst="wedgeRectCallout">
            <a:avLst>
              <a:gd name="adj1" fmla="val -49814"/>
              <a:gd name="adj2" fmla="val -14250"/>
            </a:avLst>
          </a:prstGeom>
          <a:solidFill>
            <a:schemeClr val="accent3">
              <a:alpha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>
              <a:spcBef>
                <a:spcPts val="300"/>
              </a:spcBef>
            </a:pPr>
            <a:r>
              <a:rPr lang="fr-FR" b="1" dirty="0">
                <a:solidFill>
                  <a:schemeClr val="bg1"/>
                </a:solidFill>
              </a:rPr>
              <a:t>Nombreuses solutions de gestion des contrats, en silo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bg1"/>
                </a:solidFill>
              </a:rPr>
              <a:t>Solution spécifique par processus métier (achats, juridique, ventes ou opérations ...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bg1"/>
                </a:solidFill>
              </a:rPr>
              <a:t>Solution spécifique par exigence fonctionnelle - Référentiel, Rédaction de contrats, Digitalisation des contrats, Gouvernance des contrats ..... </a:t>
            </a:r>
            <a:endParaRPr lang="en-US" sz="1600" b="1" i="0" u="none" strike="noStrike" baseline="0" dirty="0">
              <a:solidFill>
                <a:schemeClr val="bg1"/>
              </a:solidFill>
            </a:endParaRPr>
          </a:p>
        </p:txBody>
      </p:sp>
      <p:sp>
        <p:nvSpPr>
          <p:cNvPr id="21" name="Flowchart: Magnetic Disk 20">
            <a:extLst>
              <a:ext uri="{FF2B5EF4-FFF2-40B4-BE49-F238E27FC236}">
                <a16:creationId xmlns:a16="http://schemas.microsoft.com/office/drawing/2014/main" id="{D2C08753-B6A9-5A0F-8B8C-34A546BB6235}"/>
              </a:ext>
            </a:extLst>
          </p:cNvPr>
          <p:cNvSpPr/>
          <p:nvPr/>
        </p:nvSpPr>
        <p:spPr>
          <a:xfrm>
            <a:off x="1232546" y="2205854"/>
            <a:ext cx="821872" cy="364599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rgbClr val="000000"/>
                </a:solidFill>
              </a:rPr>
              <a:t>CLM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3" name="Flowchart: Magnetic Disk 22">
            <a:extLst>
              <a:ext uri="{FF2B5EF4-FFF2-40B4-BE49-F238E27FC236}">
                <a16:creationId xmlns:a16="http://schemas.microsoft.com/office/drawing/2014/main" id="{AED3C70F-CF6D-4316-4AD1-66C0902850D2}"/>
              </a:ext>
            </a:extLst>
          </p:cNvPr>
          <p:cNvSpPr/>
          <p:nvPr/>
        </p:nvSpPr>
        <p:spPr>
          <a:xfrm>
            <a:off x="2021231" y="2528487"/>
            <a:ext cx="821872" cy="364599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rgbClr val="000000"/>
                </a:solidFill>
              </a:rPr>
              <a:t>CLM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5" name="Flowchart: Magnetic Disk 24">
            <a:extLst>
              <a:ext uri="{FF2B5EF4-FFF2-40B4-BE49-F238E27FC236}">
                <a16:creationId xmlns:a16="http://schemas.microsoft.com/office/drawing/2014/main" id="{381C27E4-5C72-0E12-5170-2B49046EE1B3}"/>
              </a:ext>
            </a:extLst>
          </p:cNvPr>
          <p:cNvSpPr/>
          <p:nvPr/>
        </p:nvSpPr>
        <p:spPr>
          <a:xfrm>
            <a:off x="5237004" y="1942365"/>
            <a:ext cx="821872" cy="364599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rgbClr val="000000"/>
                </a:solidFill>
              </a:rPr>
              <a:t>CLM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7" name="Flowchart: Magnetic Disk 26">
            <a:extLst>
              <a:ext uri="{FF2B5EF4-FFF2-40B4-BE49-F238E27FC236}">
                <a16:creationId xmlns:a16="http://schemas.microsoft.com/office/drawing/2014/main" id="{148D3EC6-7A94-CF9A-3D67-61C2E0E689BC}"/>
              </a:ext>
            </a:extLst>
          </p:cNvPr>
          <p:cNvSpPr/>
          <p:nvPr/>
        </p:nvSpPr>
        <p:spPr>
          <a:xfrm>
            <a:off x="9566488" y="4574756"/>
            <a:ext cx="821872" cy="364599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rgbClr val="000000"/>
                </a:solidFill>
              </a:rPr>
              <a:t>CLM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9" name="Flowchart: Magnetic Disk 28">
            <a:extLst>
              <a:ext uri="{FF2B5EF4-FFF2-40B4-BE49-F238E27FC236}">
                <a16:creationId xmlns:a16="http://schemas.microsoft.com/office/drawing/2014/main" id="{22ABC23E-EE89-9FF1-DBB4-22CDB741354D}"/>
              </a:ext>
            </a:extLst>
          </p:cNvPr>
          <p:cNvSpPr/>
          <p:nvPr/>
        </p:nvSpPr>
        <p:spPr>
          <a:xfrm>
            <a:off x="2235907" y="2024120"/>
            <a:ext cx="821872" cy="364599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rgbClr val="000000"/>
                </a:solidFill>
              </a:rPr>
              <a:t>CLM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" name="Flowchart: Magnetic Disk 1">
            <a:extLst>
              <a:ext uri="{FF2B5EF4-FFF2-40B4-BE49-F238E27FC236}">
                <a16:creationId xmlns:a16="http://schemas.microsoft.com/office/drawing/2014/main" id="{8569E0E1-297E-D303-B4F7-050C32608D72}"/>
              </a:ext>
            </a:extLst>
          </p:cNvPr>
          <p:cNvSpPr/>
          <p:nvPr/>
        </p:nvSpPr>
        <p:spPr>
          <a:xfrm>
            <a:off x="5293686" y="2375795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4" name="Flowchart: Magnetic Disk 3">
            <a:extLst>
              <a:ext uri="{FF2B5EF4-FFF2-40B4-BE49-F238E27FC236}">
                <a16:creationId xmlns:a16="http://schemas.microsoft.com/office/drawing/2014/main" id="{5EEC781F-7FEC-E160-9DA4-33F354B60C8F}"/>
              </a:ext>
            </a:extLst>
          </p:cNvPr>
          <p:cNvSpPr/>
          <p:nvPr/>
        </p:nvSpPr>
        <p:spPr>
          <a:xfrm>
            <a:off x="5339262" y="1675714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6" name="Flowchart: Magnetic Disk 5">
            <a:extLst>
              <a:ext uri="{FF2B5EF4-FFF2-40B4-BE49-F238E27FC236}">
                <a16:creationId xmlns:a16="http://schemas.microsoft.com/office/drawing/2014/main" id="{EF629476-8CAA-FDB4-653F-14EB325FA811}"/>
              </a:ext>
            </a:extLst>
          </p:cNvPr>
          <p:cNvSpPr/>
          <p:nvPr/>
        </p:nvSpPr>
        <p:spPr>
          <a:xfrm>
            <a:off x="5869019" y="1737123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4" name="Flowchart: Magnetic Disk 13">
            <a:extLst>
              <a:ext uri="{FF2B5EF4-FFF2-40B4-BE49-F238E27FC236}">
                <a16:creationId xmlns:a16="http://schemas.microsoft.com/office/drawing/2014/main" id="{0D008597-0B85-08A4-DD7B-3E2F0CFF766A}"/>
              </a:ext>
            </a:extLst>
          </p:cNvPr>
          <p:cNvSpPr/>
          <p:nvPr/>
        </p:nvSpPr>
        <p:spPr>
          <a:xfrm>
            <a:off x="5952521" y="2281292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5" name="Flowchart: Magnetic Disk 14">
            <a:extLst>
              <a:ext uri="{FF2B5EF4-FFF2-40B4-BE49-F238E27FC236}">
                <a16:creationId xmlns:a16="http://schemas.microsoft.com/office/drawing/2014/main" id="{5EC34102-A4E8-89D5-A196-113B39954444}"/>
              </a:ext>
            </a:extLst>
          </p:cNvPr>
          <p:cNvSpPr/>
          <p:nvPr/>
        </p:nvSpPr>
        <p:spPr>
          <a:xfrm>
            <a:off x="6142378" y="1888112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6" name="Flowchart: Magnetic Disk 15">
            <a:extLst>
              <a:ext uri="{FF2B5EF4-FFF2-40B4-BE49-F238E27FC236}">
                <a16:creationId xmlns:a16="http://schemas.microsoft.com/office/drawing/2014/main" id="{91793A25-72D4-B8AA-CECF-00BF6CC2519F}"/>
              </a:ext>
            </a:extLst>
          </p:cNvPr>
          <p:cNvSpPr/>
          <p:nvPr/>
        </p:nvSpPr>
        <p:spPr>
          <a:xfrm>
            <a:off x="8110876" y="2995771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7" name="Flowchart: Magnetic Disk 16">
            <a:extLst>
              <a:ext uri="{FF2B5EF4-FFF2-40B4-BE49-F238E27FC236}">
                <a16:creationId xmlns:a16="http://schemas.microsoft.com/office/drawing/2014/main" id="{E8AB7FE4-710E-29C9-E04E-3FBE1258065F}"/>
              </a:ext>
            </a:extLst>
          </p:cNvPr>
          <p:cNvSpPr/>
          <p:nvPr/>
        </p:nvSpPr>
        <p:spPr>
          <a:xfrm>
            <a:off x="2397394" y="1649785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9" name="Flowchart: Magnetic Disk 18">
            <a:extLst>
              <a:ext uri="{FF2B5EF4-FFF2-40B4-BE49-F238E27FC236}">
                <a16:creationId xmlns:a16="http://schemas.microsoft.com/office/drawing/2014/main" id="{9E4D22C8-4126-370E-DAC5-26667C17EAC4}"/>
              </a:ext>
            </a:extLst>
          </p:cNvPr>
          <p:cNvSpPr/>
          <p:nvPr/>
        </p:nvSpPr>
        <p:spPr>
          <a:xfrm>
            <a:off x="5939764" y="1407301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0" name="Flowchart: Magnetic Disk 19">
            <a:extLst>
              <a:ext uri="{FF2B5EF4-FFF2-40B4-BE49-F238E27FC236}">
                <a16:creationId xmlns:a16="http://schemas.microsoft.com/office/drawing/2014/main" id="{4FCDF2D6-50D6-A95F-748B-F6DA2FB3BB38}"/>
              </a:ext>
            </a:extLst>
          </p:cNvPr>
          <p:cNvSpPr/>
          <p:nvPr/>
        </p:nvSpPr>
        <p:spPr>
          <a:xfrm>
            <a:off x="6237306" y="1592261"/>
            <a:ext cx="189857" cy="194658"/>
          </a:xfrm>
          <a:prstGeom prst="flowChartMagneticDisk">
            <a:avLst/>
          </a:prstGeom>
          <a:solidFill>
            <a:srgbClr val="92D050"/>
          </a:solidFill>
          <a:ln>
            <a:solidFill>
              <a:srgbClr val="0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40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8" grpId="0" animBg="1"/>
      <p:bldP spid="21" grpId="0" animBg="1"/>
      <p:bldP spid="23" grpId="0" animBg="1"/>
      <p:bldP spid="25" grpId="0" animBg="1"/>
      <p:bldP spid="27" grpId="0" animBg="1"/>
      <p:bldP spid="29" grpId="0" animBg="1"/>
      <p:bldP spid="2" grpId="0" animBg="1"/>
      <p:bldP spid="4" grpId="0" animBg="1"/>
      <p:bldP spid="6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F9D717-1998-7D45-9EBE-55CF8691A10F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lvl="0" defTabSz="1219170">
              <a:defRPr/>
            </a:pPr>
            <a:r>
              <a:rPr lang="fr-FR" sz="2800" kern="800" spc="-13" dirty="0">
                <a:solidFill>
                  <a:schemeClr val="bg2"/>
                </a:solidFill>
              </a:rPr>
              <a:t>Gestion des contrats - Tendances du marché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015C65-7278-FAA4-114A-E74BFDF705FB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12E4EE-6303-62A5-D182-CD470DA23DBA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3E7091-9527-8E16-9EE6-37CEE8C326B2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93F6169-B7A5-026E-E478-D6019998BF99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3" name="Right Arrow 76">
            <a:extLst>
              <a:ext uri="{FF2B5EF4-FFF2-40B4-BE49-F238E27FC236}">
                <a16:creationId xmlns:a16="http://schemas.microsoft.com/office/drawing/2014/main" id="{099AE5D9-193E-F620-153A-4AF5D288CDAA}"/>
              </a:ext>
            </a:extLst>
          </p:cNvPr>
          <p:cNvSpPr/>
          <p:nvPr/>
        </p:nvSpPr>
        <p:spPr>
          <a:xfrm rot="1800000">
            <a:off x="1895596" y="2409074"/>
            <a:ext cx="8480612" cy="2026024"/>
          </a:xfrm>
          <a:prstGeom prst="rightArrow">
            <a:avLst/>
          </a:prstGeom>
          <a:solidFill>
            <a:srgbClr val="246AA8">
              <a:alpha val="74902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8" name="Right Arrow 77">
            <a:extLst>
              <a:ext uri="{FF2B5EF4-FFF2-40B4-BE49-F238E27FC236}">
                <a16:creationId xmlns:a16="http://schemas.microsoft.com/office/drawing/2014/main" id="{B42FBA2E-4AEE-DC6F-581D-AD55672D18C5}"/>
              </a:ext>
            </a:extLst>
          </p:cNvPr>
          <p:cNvSpPr/>
          <p:nvPr/>
        </p:nvSpPr>
        <p:spPr>
          <a:xfrm rot="9000000">
            <a:off x="1895596" y="2409074"/>
            <a:ext cx="8480612" cy="2026024"/>
          </a:xfrm>
          <a:prstGeom prst="rightArrow">
            <a:avLst/>
          </a:prstGeom>
          <a:solidFill>
            <a:srgbClr val="246AA8">
              <a:alpha val="74902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" name="Right Arrow 78">
            <a:extLst>
              <a:ext uri="{FF2B5EF4-FFF2-40B4-BE49-F238E27FC236}">
                <a16:creationId xmlns:a16="http://schemas.microsoft.com/office/drawing/2014/main" id="{4373FE4A-0D9F-262D-101F-E912585B8921}"/>
              </a:ext>
            </a:extLst>
          </p:cNvPr>
          <p:cNvSpPr/>
          <p:nvPr/>
        </p:nvSpPr>
        <p:spPr>
          <a:xfrm rot="5400000">
            <a:off x="3942910" y="2691884"/>
            <a:ext cx="4385985" cy="2026024"/>
          </a:xfrm>
          <a:prstGeom prst="rightArrow">
            <a:avLst/>
          </a:prstGeom>
          <a:solidFill>
            <a:srgbClr val="246AA8">
              <a:alpha val="74902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698F22C-0EE0-E0D7-AA90-05BCEFF31B6A}"/>
              </a:ext>
            </a:extLst>
          </p:cNvPr>
          <p:cNvSpPr/>
          <p:nvPr/>
        </p:nvSpPr>
        <p:spPr>
          <a:xfrm>
            <a:off x="2544555" y="1335056"/>
            <a:ext cx="1224485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Spend analytic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364D1B2-E703-407C-9965-08B42A8E8E5D}"/>
              </a:ext>
            </a:extLst>
          </p:cNvPr>
          <p:cNvSpPr/>
          <p:nvPr/>
        </p:nvSpPr>
        <p:spPr>
          <a:xfrm>
            <a:off x="4016906" y="2171176"/>
            <a:ext cx="1224485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Sourcing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80486F2-A449-4473-12E1-32BB32500DF7}"/>
              </a:ext>
            </a:extLst>
          </p:cNvPr>
          <p:cNvSpPr/>
          <p:nvPr/>
        </p:nvSpPr>
        <p:spPr>
          <a:xfrm>
            <a:off x="6961608" y="3870710"/>
            <a:ext cx="1224485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Suppli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management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5ED80B1-4138-43B3-BF52-F8405EAC5F3D}"/>
              </a:ext>
            </a:extLst>
          </p:cNvPr>
          <p:cNvSpPr/>
          <p:nvPr/>
        </p:nvSpPr>
        <p:spPr>
          <a:xfrm>
            <a:off x="8317414" y="4652125"/>
            <a:ext cx="1268604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Procurement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P invoicing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6CF0794-8426-5D6E-A57B-8C429EC2D974}"/>
              </a:ext>
            </a:extLst>
          </p:cNvPr>
          <p:cNvSpPr/>
          <p:nvPr/>
        </p:nvSpPr>
        <p:spPr>
          <a:xfrm>
            <a:off x="8490687" y="1335056"/>
            <a:ext cx="1224485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Lead management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1F1B025-F269-F169-E491-F0E8D6125B15}"/>
              </a:ext>
            </a:extLst>
          </p:cNvPr>
          <p:cNvSpPr/>
          <p:nvPr/>
        </p:nvSpPr>
        <p:spPr>
          <a:xfrm>
            <a:off x="7031895" y="2171176"/>
            <a:ext cx="1255038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CPQ/Proposal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1C348B1-FBA1-C3B7-269C-053AD6CD770B}"/>
              </a:ext>
            </a:extLst>
          </p:cNvPr>
          <p:cNvSpPr/>
          <p:nvPr/>
        </p:nvSpPr>
        <p:spPr>
          <a:xfrm>
            <a:off x="4182242" y="3872707"/>
            <a:ext cx="1224485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Revenue managemen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7A1438B-5C80-C259-2CAE-377D63EA55F7}"/>
              </a:ext>
            </a:extLst>
          </p:cNvPr>
          <p:cNvSpPr/>
          <p:nvPr/>
        </p:nvSpPr>
        <p:spPr>
          <a:xfrm>
            <a:off x="2848032" y="4603146"/>
            <a:ext cx="1295613" cy="731403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Order management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AP invoicing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B08C2B9-5946-E873-8591-54B3E76294B3}"/>
              </a:ext>
            </a:extLst>
          </p:cNvPr>
          <p:cNvSpPr/>
          <p:nvPr/>
        </p:nvSpPr>
        <p:spPr>
          <a:xfrm>
            <a:off x="5370945" y="1660222"/>
            <a:ext cx="1552066" cy="927072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Legal matter management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4CF6F43-17FA-2989-F0F2-9F9F08040108}"/>
              </a:ext>
            </a:extLst>
          </p:cNvPr>
          <p:cNvSpPr/>
          <p:nvPr/>
        </p:nvSpPr>
        <p:spPr>
          <a:xfrm>
            <a:off x="5370945" y="4551907"/>
            <a:ext cx="1552066" cy="927072"/>
          </a:xfrm>
          <a:prstGeom prst="ellipse">
            <a:avLst/>
          </a:prstGeom>
          <a:solidFill>
            <a:srgbClr val="FFFFFF">
              <a:alpha val="92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err="1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eBilling</a:t>
            </a:r>
            <a:endParaRPr kumimoji="0" lang="en-US" sz="1200" b="1" i="0" u="none" strike="noStrike" kern="0" cap="none" spc="0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FF6CF9A-398E-D250-ABD4-584178077283}"/>
              </a:ext>
            </a:extLst>
          </p:cNvPr>
          <p:cNvSpPr/>
          <p:nvPr/>
        </p:nvSpPr>
        <p:spPr>
          <a:xfrm>
            <a:off x="1100188" y="5666419"/>
            <a:ext cx="111440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Lead to Cash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Proces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2563BE4-9003-06C4-8AB1-EBB68604E44C}"/>
              </a:ext>
            </a:extLst>
          </p:cNvPr>
          <p:cNvSpPr/>
          <p:nvPr/>
        </p:nvSpPr>
        <p:spPr>
          <a:xfrm>
            <a:off x="5416152" y="5856919"/>
            <a:ext cx="14173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Legal Operatio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Proces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67A002-CCEB-1EA4-914F-AD2F89EA355B}"/>
              </a:ext>
            </a:extLst>
          </p:cNvPr>
          <p:cNvSpPr/>
          <p:nvPr/>
        </p:nvSpPr>
        <p:spPr>
          <a:xfrm>
            <a:off x="9786142" y="5661081"/>
            <a:ext cx="11801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Source to Pa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</a:rPr>
              <a:t>Process</a:t>
            </a:r>
          </a:p>
        </p:txBody>
      </p:sp>
      <p:pic>
        <p:nvPicPr>
          <p:cNvPr id="36" name="Graphic 35" descr="Cycle with people with solid fill">
            <a:extLst>
              <a:ext uri="{FF2B5EF4-FFF2-40B4-BE49-F238E27FC236}">
                <a16:creationId xmlns:a16="http://schemas.microsoft.com/office/drawing/2014/main" id="{0CF98FD2-41D2-E89B-11F4-CC32E283CA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23863" y="6211882"/>
            <a:ext cx="725627" cy="725627"/>
          </a:xfrm>
          <a:prstGeom prst="rect">
            <a:avLst/>
          </a:prstGeom>
        </p:spPr>
      </p:pic>
      <p:pic>
        <p:nvPicPr>
          <p:cNvPr id="37" name="Graphic 36" descr="Workflow with solid fill">
            <a:extLst>
              <a:ext uri="{FF2B5EF4-FFF2-40B4-BE49-F238E27FC236}">
                <a16:creationId xmlns:a16="http://schemas.microsoft.com/office/drawing/2014/main" id="{652AA8EB-63B5-7DB4-00D7-EFFACF6A404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3212" y="6021382"/>
            <a:ext cx="725627" cy="725627"/>
          </a:xfrm>
          <a:prstGeom prst="rect">
            <a:avLst/>
          </a:prstGeom>
        </p:spPr>
      </p:pic>
      <p:pic>
        <p:nvPicPr>
          <p:cNvPr id="38" name="Graphic 37" descr="Continuous Improvement with solid fill">
            <a:extLst>
              <a:ext uri="{FF2B5EF4-FFF2-40B4-BE49-F238E27FC236}">
                <a16:creationId xmlns:a16="http://schemas.microsoft.com/office/drawing/2014/main" id="{229D9D98-AE8A-91B3-DEAF-E6EFC55CC6D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37723" y="6021382"/>
            <a:ext cx="725627" cy="725627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0E951746-9548-2583-592F-DCF4BEE9F9BC}"/>
              </a:ext>
            </a:extLst>
          </p:cNvPr>
          <p:cNvSpPr/>
          <p:nvPr/>
        </p:nvSpPr>
        <p:spPr>
          <a:xfrm>
            <a:off x="5472108" y="2632189"/>
            <a:ext cx="1527356" cy="1508911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F7C5D234-759B-F7EB-7C0E-86D70FC0AE2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0056" y="2637376"/>
            <a:ext cx="1536568" cy="101849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04E9A8F-025C-A3B7-D7E2-B9581F1CB0B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55" b="-2598"/>
          <a:stretch/>
        </p:blipFill>
        <p:spPr>
          <a:xfrm rot="20965778">
            <a:off x="5814509" y="3311493"/>
            <a:ext cx="1244340" cy="81267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47426ED-910A-BEB5-3ABB-286FE8F0B44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944616">
            <a:off x="5531899" y="2991296"/>
            <a:ext cx="1356098" cy="11958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2500EFC-03E7-E8D8-62F8-DD855007CA49}"/>
              </a:ext>
            </a:extLst>
          </p:cNvPr>
          <p:cNvSpPr txBox="1"/>
          <p:nvPr/>
        </p:nvSpPr>
        <p:spPr>
          <a:xfrm>
            <a:off x="5444122" y="3185543"/>
            <a:ext cx="15733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S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Infused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76B0A9B3-8DCF-A3F8-FC78-0C866F5EA16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1928" y="2558056"/>
            <a:ext cx="1668682" cy="1611863"/>
          </a:xfrm>
          <a:prstGeom prst="rect">
            <a:avLst/>
          </a:prstGeom>
        </p:spPr>
      </p:pic>
      <p:sp>
        <p:nvSpPr>
          <p:cNvPr id="40" name="Content Placeholder 1">
            <a:extLst>
              <a:ext uri="{FF2B5EF4-FFF2-40B4-BE49-F238E27FC236}">
                <a16:creationId xmlns:a16="http://schemas.microsoft.com/office/drawing/2014/main" id="{3B2DD528-DE89-3ADD-9A28-70946CEBA60A}"/>
              </a:ext>
            </a:extLst>
          </p:cNvPr>
          <p:cNvSpPr txBox="1">
            <a:spLocks/>
          </p:cNvSpPr>
          <p:nvPr/>
        </p:nvSpPr>
        <p:spPr>
          <a:xfrm>
            <a:off x="8984609" y="2845836"/>
            <a:ext cx="3027393" cy="108907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0" rIns="0"/>
          <a:lstStyle>
            <a:lvl1pPr marL="2285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9306" indent="-230712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7900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64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5089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0"/>
              </a:spcBef>
              <a:buClrTx/>
              <a:buNone/>
              <a:defRPr/>
            </a:pPr>
            <a:r>
              <a:rPr lang="fr-FR" sz="16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CONTRACTUALISATION</a:t>
            </a:r>
          </a:p>
          <a:p>
            <a:pPr marL="0" lvl="0" indent="0" algn="ctr">
              <a:spcBef>
                <a:spcPts val="0"/>
              </a:spcBef>
              <a:buClrTx/>
              <a:buNone/>
              <a:defRPr/>
            </a:pPr>
            <a:r>
              <a:rPr lang="fr-FR" sz="14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Créez des contrats plus solides et conformes, améliorez la collaboration, réduisez la durée du cycle de création.</a:t>
            </a: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23D87939-3DF3-AD18-073C-E6A69BFDA9CE}"/>
              </a:ext>
            </a:extLst>
          </p:cNvPr>
          <p:cNvSpPr txBox="1">
            <a:spLocks/>
          </p:cNvSpPr>
          <p:nvPr/>
        </p:nvSpPr>
        <p:spPr>
          <a:xfrm>
            <a:off x="203502" y="2844350"/>
            <a:ext cx="3049898" cy="1099310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0" rIns="0"/>
          <a:lstStyle>
            <a:lvl1pPr marL="2285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9306" indent="-230712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7900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64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5089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300"/>
              </a:spcBef>
              <a:buClrTx/>
              <a:buNone/>
              <a:defRPr/>
            </a:pPr>
            <a:r>
              <a:rPr lang="fr-FR" sz="16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PERFORMANCE</a:t>
            </a:r>
          </a:p>
          <a:p>
            <a:pPr marL="0" indent="0" algn="ctr">
              <a:spcBef>
                <a:spcPts val="300"/>
              </a:spcBef>
              <a:buClrTx/>
              <a:buNone/>
              <a:defRPr/>
            </a:pPr>
            <a:r>
              <a:rPr lang="fr-FR" sz="14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Améliorez les performances opérationnelles, gérez les risques et réduisez les fuites de valeur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  <a:p>
            <a:pPr marL="285750" marR="0" lvl="0" indent="-108000" algn="r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  <a:p>
            <a:pPr marL="285750" marR="0" lvl="0" indent="-108000" algn="r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42" name="Content Placeholder 1">
            <a:extLst>
              <a:ext uri="{FF2B5EF4-FFF2-40B4-BE49-F238E27FC236}">
                <a16:creationId xmlns:a16="http://schemas.microsoft.com/office/drawing/2014/main" id="{0ED540F4-4A32-F970-ACC0-D5B4A0D36760}"/>
              </a:ext>
            </a:extLst>
          </p:cNvPr>
          <p:cNvSpPr txBox="1">
            <a:spLocks/>
          </p:cNvSpPr>
          <p:nvPr/>
        </p:nvSpPr>
        <p:spPr>
          <a:xfrm>
            <a:off x="4208491" y="717052"/>
            <a:ext cx="3838395" cy="1169067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0" rIns="0"/>
          <a:lstStyle>
            <a:lvl1pPr marL="2285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9306" indent="-230712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7900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6494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5089" indent="-22859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300"/>
              </a:spcBef>
              <a:buClrTx/>
              <a:buNone/>
              <a:defRPr/>
            </a:pPr>
            <a:r>
              <a:rPr lang="fr-FR" sz="16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DIGITALISATION</a:t>
            </a:r>
          </a:p>
          <a:p>
            <a:pPr marL="0" lvl="0" indent="0" algn="ctr">
              <a:spcBef>
                <a:spcPts val="300"/>
              </a:spcBef>
              <a:buClrTx/>
              <a:buNone/>
              <a:defRPr/>
            </a:pPr>
            <a:r>
              <a:rPr lang="fr-FR" sz="1400" b="1" kern="0" spc="0" dirty="0">
                <a:solidFill>
                  <a:schemeClr val="bg1"/>
                </a:solidFill>
                <a:cs typeface="Calibri" panose="020F0502020204030204" pitchFamily="34" charset="0"/>
              </a:rPr>
              <a:t>Obtenez une visibilité complète de votre portefeuille contrats, gérez les risques et la conformité, et libérez l'intelligence contractuelle.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85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3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3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F9D717-1998-7D45-9EBE-55CF8691A10F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lvl="0" defTabSz="1219170">
              <a:defRPr/>
            </a:pPr>
            <a:r>
              <a:rPr lang="fr-FR" sz="2800" kern="800" spc="-13" dirty="0">
                <a:solidFill>
                  <a:srgbClr val="146D86"/>
                </a:solidFill>
              </a:rPr>
              <a:t>Gestion des contrats - Où en sommes-nous aujourd'hui ?</a:t>
            </a:r>
            <a:endParaRPr lang="en-US" sz="2800" kern="800" spc="-13" dirty="0">
              <a:solidFill>
                <a:srgbClr val="146D86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015C65-7278-FAA4-114A-E74BFDF705FB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12E4EE-6303-62A5-D182-CD470DA23DBA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3E7091-9527-8E16-9EE6-37CEE8C326B2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93F6169-B7A5-026E-E478-D6019998BF99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41" name="Rectangular Callout 19">
            <a:extLst>
              <a:ext uri="{FF2B5EF4-FFF2-40B4-BE49-F238E27FC236}">
                <a16:creationId xmlns:a16="http://schemas.microsoft.com/office/drawing/2014/main" id="{4F318C15-526A-E1CF-A2A3-DF266BB9A3BC}"/>
              </a:ext>
            </a:extLst>
          </p:cNvPr>
          <p:cNvSpPr/>
          <p:nvPr/>
        </p:nvSpPr>
        <p:spPr>
          <a:xfrm>
            <a:off x="8377645" y="1519519"/>
            <a:ext cx="3476445" cy="3527048"/>
          </a:xfrm>
          <a:prstGeom prst="wedgeRectCallout">
            <a:avLst>
              <a:gd name="adj1" fmla="val -49814"/>
              <a:gd name="adj2" fmla="val -14250"/>
            </a:avLst>
          </a:prstGeom>
          <a:solidFill>
            <a:schemeClr val="accent3">
              <a:alpha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marL="285750" lvl="0" indent="-285750" defTabSz="913386">
              <a:spcBef>
                <a:spcPts val="1200"/>
              </a:spcBef>
              <a:spcAft>
                <a:spcPts val="599"/>
              </a:spcAft>
              <a:buFont typeface="Arial" panose="05000000000000000000" pitchFamily="2" charset="2"/>
              <a:buChar char="•"/>
              <a:defRPr/>
            </a:pPr>
            <a:r>
              <a:rPr lang="fr-FR" sz="1600" b="1" dirty="0">
                <a:solidFill>
                  <a:schemeClr val="bg1"/>
                </a:solidFill>
                <a:cs typeface="Calibri"/>
              </a:rPr>
              <a:t>2/3 des entreprises disposent d'un référentiel de contrats exécutés.</a:t>
            </a:r>
          </a:p>
          <a:p>
            <a:pPr marL="285750" indent="-285750" defTabSz="913386">
              <a:spcBef>
                <a:spcPts val="1200"/>
              </a:spcBef>
              <a:spcAft>
                <a:spcPts val="599"/>
              </a:spcAft>
              <a:buFont typeface="Arial" panose="05000000000000000000" pitchFamily="2" charset="2"/>
              <a:buChar char="•"/>
              <a:defRPr/>
            </a:pPr>
            <a:r>
              <a:rPr lang="fr-FR" sz="1600" b="1" dirty="0">
                <a:solidFill>
                  <a:schemeClr val="bg1"/>
                </a:solidFill>
                <a:cs typeface="Calibri"/>
              </a:rPr>
              <a:t>Moins de 1/3 des entreprises ont mis en place une certaine automatisation de leurs processus.</a:t>
            </a:r>
          </a:p>
          <a:p>
            <a:pPr lvl="0" algn="ctr" defTabSz="913386">
              <a:spcBef>
                <a:spcPts val="1200"/>
              </a:spcBef>
              <a:spcAft>
                <a:spcPts val="599"/>
              </a:spcAft>
              <a:defRPr/>
            </a:pPr>
            <a:r>
              <a:rPr lang="fr-FR" b="1" dirty="0">
                <a:solidFill>
                  <a:schemeClr val="bg1"/>
                </a:solidFill>
                <a:cs typeface="Calibri"/>
              </a:rPr>
              <a:t>Moins de 11 % des entreprises considèrent que leurs processus contractuels sont très efficace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A24481-2034-04F7-FC6B-2373DAA49087}"/>
              </a:ext>
            </a:extLst>
          </p:cNvPr>
          <p:cNvSpPr/>
          <p:nvPr/>
        </p:nvSpPr>
        <p:spPr>
          <a:xfrm>
            <a:off x="8084820" y="6502807"/>
            <a:ext cx="31026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baseline="0" dirty="0">
                <a:latin typeface="+mj-lt"/>
              </a:rPr>
              <a:t>*Source World Commerce &amp; Contracting 2022.</a:t>
            </a:r>
            <a:endParaRPr kumimoji="0" lang="en-IN" sz="1200" b="0" i="0" u="none" strike="noStrike" kern="0" cap="none" spc="0" normalizeH="0" baseline="0" noProof="0" dirty="0">
              <a:ln>
                <a:noFill/>
              </a:ln>
              <a:solidFill>
                <a:srgbClr val="57565A">
                  <a:lumMod val="50000"/>
                  <a:lumOff val="50000"/>
                </a:srgbClr>
              </a:solidFill>
              <a:effectLst/>
              <a:uLnTx/>
              <a:uFillTx/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E8F0A12-4AE1-DAA4-836B-FAF7DA82DF3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7910" y="824010"/>
            <a:ext cx="7746910" cy="5839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31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EF9D717-1998-7D45-9EBE-55CF8691A10F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lvl="0" defTabSz="1219170">
              <a:defRPr/>
            </a:pPr>
            <a:r>
              <a:rPr lang="fr-FR" sz="2800" kern="800" spc="-13" dirty="0">
                <a:solidFill>
                  <a:srgbClr val="146D86"/>
                </a:solidFill>
              </a:rPr>
              <a:t>Gestion des contrats - Sondage "Quels sont vos prochains défis ?"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D015C65-7278-FAA4-114A-E74BFDF705FB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312E4EE-6303-62A5-D182-CD470DA23DBA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3E7091-9527-8E16-9EE6-37CEE8C326B2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93F6169-B7A5-026E-E478-D6019998BF99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521F160-2786-CD7E-C512-43645C8AB52F}"/>
              </a:ext>
            </a:extLst>
          </p:cNvPr>
          <p:cNvGraphicFramePr/>
          <p:nvPr/>
        </p:nvGraphicFramePr>
        <p:xfrm>
          <a:off x="579686" y="1743408"/>
          <a:ext cx="11170354" cy="4185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A3228153-5687-266D-6C7D-3D3B6CAB31D2}"/>
              </a:ext>
            </a:extLst>
          </p:cNvPr>
          <p:cNvSpPr/>
          <p:nvPr/>
        </p:nvSpPr>
        <p:spPr>
          <a:xfrm>
            <a:off x="5012726" y="6325430"/>
            <a:ext cx="25827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*Sour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irionLabs/</a:t>
            </a:r>
            <a:r>
              <a:rPr kumimoji="0" lang="en-IN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Fluxym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France Survey 2022</a:t>
            </a:r>
          </a:p>
        </p:txBody>
      </p:sp>
    </p:spTree>
    <p:extLst>
      <p:ext uri="{BB962C8B-B14F-4D97-AF65-F5344CB8AC3E}">
        <p14:creationId xmlns:p14="http://schemas.microsoft.com/office/powerpoint/2010/main" val="2403260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FF8DEF63-8E15-1F43-BF82-62C7EE134766}"/>
              </a:ext>
            </a:extLst>
          </p:cNvPr>
          <p:cNvSpPr/>
          <p:nvPr/>
        </p:nvSpPr>
        <p:spPr>
          <a:xfrm>
            <a:off x="3143946" y="436983"/>
            <a:ext cx="7786047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800" cap="none" spc="-13" normalizeH="0" baseline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i sommes nous</a:t>
            </a:r>
            <a:endParaRPr kumimoji="0" lang="fr-FR" sz="2800" b="0" i="0" u="none" strike="noStrike" kern="800" cap="none" spc="-13" normalizeH="0" baseline="0">
              <a:ln>
                <a:noFill/>
              </a:ln>
              <a:solidFill>
                <a:srgbClr val="146D86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3E517682-4710-A1F4-B689-AF9CE09439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50211" y="217643"/>
            <a:ext cx="2683607" cy="899618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331AD2C9-26D6-5B5F-9351-DA95B4A5BCEC}"/>
              </a:ext>
            </a:extLst>
          </p:cNvPr>
          <p:cNvGrpSpPr/>
          <p:nvPr/>
        </p:nvGrpSpPr>
        <p:grpSpPr>
          <a:xfrm>
            <a:off x="361379" y="1146440"/>
            <a:ext cx="2654299" cy="84667"/>
            <a:chOff x="0" y="0"/>
            <a:chExt cx="1990846" cy="63661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4ED2858-A177-D016-E1A0-3CDC01E67269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24E4776-D622-5820-9084-61B36A25023A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AAB93BBD-D28D-EDA8-018F-267488250577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903AC34-5C83-518F-4507-E5FFF2B70FE5}"/>
              </a:ext>
            </a:extLst>
          </p:cNvPr>
          <p:cNvSpPr/>
          <p:nvPr/>
        </p:nvSpPr>
        <p:spPr>
          <a:xfrm>
            <a:off x="4594213" y="5251503"/>
            <a:ext cx="1073159" cy="728501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A map of the world&#10;&#10;Description automatically generated with low confidence">
            <a:extLst>
              <a:ext uri="{FF2B5EF4-FFF2-40B4-BE49-F238E27FC236}">
                <a16:creationId xmlns:a16="http://schemas.microsoft.com/office/drawing/2014/main" id="{BBFA7843-EC24-9658-49F1-2DC81A5C3E2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185" y="4991876"/>
            <a:ext cx="2400344" cy="1218944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9A9AA6F7-588F-1E48-AE28-39E9D1E0FE0E}"/>
              </a:ext>
            </a:extLst>
          </p:cNvPr>
          <p:cNvSpPr txBox="1">
            <a:spLocks/>
          </p:cNvSpPr>
          <p:nvPr/>
        </p:nvSpPr>
        <p:spPr>
          <a:xfrm>
            <a:off x="4370937" y="4470307"/>
            <a:ext cx="3587060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0+</a:t>
            </a:r>
          </a:p>
          <a:p>
            <a:pPr marL="0" marR="0" lvl="0" indent="0" algn="ctr" defTabSz="609615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Calibri" panose="020F0502020204030204" pitchFamily="34" charset="0"/>
              </a:rPr>
              <a:t>Clients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0EAB44C-8BA6-0051-ED19-7604319D4EB9}"/>
              </a:ext>
            </a:extLst>
          </p:cNvPr>
          <p:cNvSpPr txBox="1">
            <a:spLocks/>
          </p:cNvSpPr>
          <p:nvPr/>
        </p:nvSpPr>
        <p:spPr>
          <a:xfrm>
            <a:off x="4372362" y="1864397"/>
            <a:ext cx="3587060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+</a:t>
            </a:r>
          </a:p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Calibri"/>
              </a:rPr>
              <a:t>Années d’innovation</a:t>
            </a:r>
            <a:endParaRPr kumimoji="0" lang="fr-FR" sz="14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0E170E-7655-6C47-4CD0-06F4A92ED175}"/>
              </a:ext>
            </a:extLst>
          </p:cNvPr>
          <p:cNvSpPr txBox="1">
            <a:spLocks/>
          </p:cNvSpPr>
          <p:nvPr/>
        </p:nvSpPr>
        <p:spPr>
          <a:xfrm>
            <a:off x="8323084" y="1884145"/>
            <a:ext cx="3587061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80+%</a:t>
            </a:r>
          </a:p>
          <a:p>
            <a:pPr marL="0" marR="0" lvl="0" indent="0" algn="ctr" defTabSz="609615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Calibri"/>
              </a:rPr>
              <a:t>Croissance Annuelle </a:t>
            </a:r>
            <a:endParaRPr kumimoji="0" lang="fr-FR" sz="14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8433754-FFDD-94FC-CB9A-236AD3996B35}"/>
              </a:ext>
            </a:extLst>
          </p:cNvPr>
          <p:cNvSpPr txBox="1">
            <a:spLocks/>
          </p:cNvSpPr>
          <p:nvPr/>
        </p:nvSpPr>
        <p:spPr>
          <a:xfrm>
            <a:off x="516553" y="4415890"/>
            <a:ext cx="3603931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  <a:p>
            <a:pPr marL="0" marR="0" lvl="0" indent="0" algn="ctr" defTabSz="609615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Calibri"/>
              </a:rPr>
              <a:t>Présence Globale</a:t>
            </a:r>
            <a:endParaRPr kumimoji="0" lang="fr-FR" sz="14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8" name="Picture 2" descr="50 to Know badge">
            <a:extLst>
              <a:ext uri="{FF2B5EF4-FFF2-40B4-BE49-F238E27FC236}">
                <a16:creationId xmlns:a16="http://schemas.microsoft.com/office/drawing/2014/main" id="{F747C3A7-3DDE-E33F-75E2-6A98DDEEBB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1796" y="2832233"/>
            <a:ext cx="406401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Fast Company Logo on Logonoid.com | Company logo, Logos, Business magazine">
            <a:extLst>
              <a:ext uri="{FF2B5EF4-FFF2-40B4-BE49-F238E27FC236}">
                <a16:creationId xmlns:a16="http://schemas.microsoft.com/office/drawing/2014/main" id="{051C5111-8379-A8F4-9367-3A8F2E3A6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601" y="2832941"/>
            <a:ext cx="812438" cy="169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3D9AD56-09FB-C08F-6B70-35689908035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308"/>
          <a:stretch/>
        </p:blipFill>
        <p:spPr>
          <a:xfrm>
            <a:off x="8696022" y="2987207"/>
            <a:ext cx="683596" cy="180002"/>
          </a:xfrm>
          <a:prstGeom prst="rect">
            <a:avLst/>
          </a:prstGeom>
        </p:spPr>
      </p:pic>
      <p:pic>
        <p:nvPicPr>
          <p:cNvPr id="43" name="Picture 4">
            <a:extLst>
              <a:ext uri="{FF2B5EF4-FFF2-40B4-BE49-F238E27FC236}">
                <a16:creationId xmlns:a16="http://schemas.microsoft.com/office/drawing/2014/main" id="{9A4D8214-0D0D-0771-1F04-25917271D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1159" y="3177423"/>
            <a:ext cx="1191309" cy="32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F3518F4-873D-3EAF-20A7-03F9F697044D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8292" y="5204838"/>
            <a:ext cx="650850" cy="841617"/>
          </a:xfrm>
          <a:prstGeom prst="rect">
            <a:avLst/>
          </a:prstGeom>
        </p:spPr>
      </p:pic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399EC2C9-D3E8-13D5-BA9F-0D3A9C7DAAF0}"/>
              </a:ext>
            </a:extLst>
          </p:cNvPr>
          <p:cNvSpPr txBox="1">
            <a:spLocks/>
          </p:cNvSpPr>
          <p:nvPr/>
        </p:nvSpPr>
        <p:spPr>
          <a:xfrm>
            <a:off x="5170056" y="5358891"/>
            <a:ext cx="593204" cy="34471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1100" b="1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450B+</a:t>
            </a:r>
            <a:endParaRPr kumimoji="0" lang="fr-FR" sz="600" b="0" i="0" u="none" strike="noStrike" kern="1200" cap="none" spc="0" normalizeH="0" baseline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600" b="0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Calibri"/>
              </a:rPr>
              <a:t>TCV</a:t>
            </a:r>
            <a:endParaRPr kumimoji="0" lang="fr-FR" sz="600" b="0" i="0" u="none" strike="noStrike" kern="1200" cap="none" spc="0" normalizeH="0" baseline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endParaRPr kumimoji="0" lang="fr-FR" sz="600" b="0" i="0" u="none" strike="noStrike" kern="1200" cap="none" spc="0" normalizeH="0" baseline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6E45A11F-3491-6965-0C62-7CEEF387D2A1}"/>
              </a:ext>
            </a:extLst>
          </p:cNvPr>
          <p:cNvSpPr txBox="1">
            <a:spLocks/>
          </p:cNvSpPr>
          <p:nvPr/>
        </p:nvSpPr>
        <p:spPr>
          <a:xfrm>
            <a:off x="4655366" y="5651927"/>
            <a:ext cx="729967" cy="25237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377">
              <a:lnSpc>
                <a:spcPct val="100000"/>
              </a:lnSpc>
              <a:spcBef>
                <a:spcPts val="0"/>
              </a:spcBef>
              <a:buClrTx/>
              <a:defRPr/>
            </a:pPr>
            <a:r>
              <a:rPr lang="fr-FR" sz="1100" b="1">
                <a:solidFill>
                  <a:srgbClr val="000000">
                    <a:lumMod val="50000"/>
                    <a:lumOff val="50000"/>
                  </a:srgbClr>
                </a:solidFill>
                <a:ea typeface="Proxima Nova" charset="0"/>
                <a:cs typeface="Proxima Nova" charset="0"/>
              </a:rPr>
              <a:t>300k+</a:t>
            </a:r>
            <a:endParaRPr lang="fr-FR" sz="600">
              <a:solidFill>
                <a:srgbClr val="000000">
                  <a:lumMod val="50000"/>
                  <a:lumOff val="50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  <a:p>
            <a:pPr algn="l" defTabSz="914377" fontAlgn="base">
              <a:spcBef>
                <a:spcPts val="0"/>
              </a:spcBef>
              <a:buClr>
                <a:srgbClr val="539132"/>
              </a:buClr>
              <a:buSzPct val="95000"/>
              <a:defRPr/>
            </a:pPr>
            <a:r>
              <a:rPr lang="fr-FR" sz="600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/>
                <a:cs typeface="Calibri"/>
              </a:rPr>
              <a:t>Active Users</a:t>
            </a:r>
            <a:endParaRPr lang="fr-FR" sz="600">
              <a:solidFill>
                <a:srgbClr val="000000">
                  <a:lumMod val="50000"/>
                  <a:lumOff val="50000"/>
                </a:srgbClr>
              </a:solidFill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03FFF786-7439-7B77-576D-615775E3B086}"/>
              </a:ext>
            </a:extLst>
          </p:cNvPr>
          <p:cNvSpPr txBox="1">
            <a:spLocks/>
          </p:cNvSpPr>
          <p:nvPr/>
        </p:nvSpPr>
        <p:spPr>
          <a:xfrm>
            <a:off x="5182360" y="5656382"/>
            <a:ext cx="429090" cy="25237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1100" b="1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+</a:t>
            </a:r>
            <a:endParaRPr kumimoji="0" lang="fr-FR" sz="600" b="0" i="0" u="none" strike="noStrike" kern="1200" cap="none" spc="0" normalizeH="0" baseline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600" b="0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/>
                <a:cs typeface="Calibri"/>
              </a:rPr>
              <a:t>Countries</a:t>
            </a:r>
            <a:endParaRPr kumimoji="0" lang="fr-FR" sz="600" b="0" i="0" u="none" strike="noStrike" kern="1200" cap="none" spc="0" normalizeH="0" baseline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85D8B6CA-D55A-0591-3546-06A54AF2D5A9}"/>
              </a:ext>
            </a:extLst>
          </p:cNvPr>
          <p:cNvSpPr txBox="1">
            <a:spLocks/>
          </p:cNvSpPr>
          <p:nvPr/>
        </p:nvSpPr>
        <p:spPr>
          <a:xfrm>
            <a:off x="4665885" y="5355952"/>
            <a:ext cx="616488" cy="26161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1100" b="1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M+</a:t>
            </a:r>
          </a:p>
          <a:p>
            <a:pPr marL="0" marR="0" lvl="0" indent="0" algn="l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600" b="0" i="0" u="none" strike="noStrike" kern="1200" cap="none" spc="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Calibri" panose="020F0502020204030204" pitchFamily="34" charset="0"/>
              </a:rPr>
              <a:t>Contracts </a:t>
            </a:r>
          </a:p>
        </p:txBody>
      </p:sp>
      <p:sp>
        <p:nvSpPr>
          <p:cNvPr id="69" name="Card 42">
            <a:extLst>
              <a:ext uri="{FF2B5EF4-FFF2-40B4-BE49-F238E27FC236}">
                <a16:creationId xmlns:a16="http://schemas.microsoft.com/office/drawing/2014/main" id="{BEAAC268-5C6D-0EC1-6E18-173413B0410D}"/>
              </a:ext>
            </a:extLst>
          </p:cNvPr>
          <p:cNvSpPr/>
          <p:nvPr/>
        </p:nvSpPr>
        <p:spPr>
          <a:xfrm>
            <a:off x="4372362" y="1731127"/>
            <a:ext cx="3587061" cy="1922070"/>
          </a:xfrm>
          <a:prstGeom prst="flowChartPunchedCard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Card 43">
            <a:extLst>
              <a:ext uri="{FF2B5EF4-FFF2-40B4-BE49-F238E27FC236}">
                <a16:creationId xmlns:a16="http://schemas.microsoft.com/office/drawing/2014/main" id="{D9A90A99-9702-74E8-5D02-C45C8DBE9F4F}"/>
              </a:ext>
            </a:extLst>
          </p:cNvPr>
          <p:cNvSpPr/>
          <p:nvPr/>
        </p:nvSpPr>
        <p:spPr>
          <a:xfrm>
            <a:off x="8323085" y="1731127"/>
            <a:ext cx="3587061" cy="1922070"/>
          </a:xfrm>
          <a:prstGeom prst="flowChartPunchedCard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EA56E07-CE99-16DE-7655-2117444778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17216" y="2911132"/>
            <a:ext cx="985815" cy="36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Card 46">
            <a:extLst>
              <a:ext uri="{FF2B5EF4-FFF2-40B4-BE49-F238E27FC236}">
                <a16:creationId xmlns:a16="http://schemas.microsoft.com/office/drawing/2014/main" id="{1ACF3FDA-15C5-0A66-8A7E-05A45F9BF7BF}"/>
              </a:ext>
            </a:extLst>
          </p:cNvPr>
          <p:cNvSpPr/>
          <p:nvPr/>
        </p:nvSpPr>
        <p:spPr>
          <a:xfrm>
            <a:off x="516554" y="4263829"/>
            <a:ext cx="3587061" cy="1922070"/>
          </a:xfrm>
          <a:prstGeom prst="flowChartPunchedCard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Card 47">
            <a:extLst>
              <a:ext uri="{FF2B5EF4-FFF2-40B4-BE49-F238E27FC236}">
                <a16:creationId xmlns:a16="http://schemas.microsoft.com/office/drawing/2014/main" id="{76625638-1642-35A3-710D-65F0D409AA3C}"/>
              </a:ext>
            </a:extLst>
          </p:cNvPr>
          <p:cNvSpPr/>
          <p:nvPr/>
        </p:nvSpPr>
        <p:spPr>
          <a:xfrm>
            <a:off x="4372362" y="4288750"/>
            <a:ext cx="3587061" cy="1922070"/>
          </a:xfrm>
          <a:prstGeom prst="flowChartPunchedCard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BC1B65AB-38ED-C872-ED03-A9B1EE9D52E8}"/>
              </a:ext>
            </a:extLst>
          </p:cNvPr>
          <p:cNvSpPr/>
          <p:nvPr/>
        </p:nvSpPr>
        <p:spPr>
          <a:xfrm>
            <a:off x="5909551" y="5725209"/>
            <a:ext cx="1023480" cy="292660"/>
          </a:xfrm>
          <a:prstGeom prst="rect">
            <a:avLst/>
          </a:prstGeom>
          <a:solidFill>
            <a:srgbClr val="4C1D7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5" name="Picture 2" descr="Gartner Peer Insights">
            <a:extLst>
              <a:ext uri="{FF2B5EF4-FFF2-40B4-BE49-F238E27FC236}">
                <a16:creationId xmlns:a16="http://schemas.microsoft.com/office/drawing/2014/main" id="{B91C19B3-EFC8-6571-6AF1-84BEAB349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0368" y="5711045"/>
            <a:ext cx="972664" cy="292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75" descr="Logo, icon&#10;&#10;Description automatically generated">
            <a:extLst>
              <a:ext uri="{FF2B5EF4-FFF2-40B4-BE49-F238E27FC236}">
                <a16:creationId xmlns:a16="http://schemas.microsoft.com/office/drawing/2014/main" id="{0B48D1D5-4B7A-C244-177D-CD9D5AED62D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592" y="5146284"/>
            <a:ext cx="544612" cy="571843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D7046298-6F8C-3333-191E-682EB2CC3EF2}"/>
              </a:ext>
            </a:extLst>
          </p:cNvPr>
          <p:cNvSpPr/>
          <p:nvPr/>
        </p:nvSpPr>
        <p:spPr>
          <a:xfrm>
            <a:off x="516554" y="1731127"/>
            <a:ext cx="3587061" cy="192207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17C03D87-311F-1ED8-E55C-84B2901340B9}"/>
              </a:ext>
            </a:extLst>
          </p:cNvPr>
          <p:cNvSpPr txBox="1">
            <a:spLocks/>
          </p:cNvSpPr>
          <p:nvPr/>
        </p:nvSpPr>
        <p:spPr>
          <a:xfrm>
            <a:off x="516553" y="1834789"/>
            <a:ext cx="3587061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  <a:p>
            <a:pPr marL="0" marR="0" lvl="0" indent="0" algn="ctr" defTabSz="609615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Calibri" panose="020F0502020204030204" pitchFamily="34" charset="0"/>
              </a:rPr>
              <a:t>Focus, SaaS CLM</a:t>
            </a:r>
            <a:endParaRPr kumimoji="0" lang="fr-FR" sz="1400" b="1" i="0" u="none" strike="noStrike" kern="1200" cap="none" spc="0" normalizeH="0" baseline="3000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Calibri" panose="020F0502020204030204" pitchFamily="34" charset="0"/>
            </a:endParaRPr>
          </a:p>
        </p:txBody>
      </p:sp>
      <p:pic>
        <p:nvPicPr>
          <p:cNvPr id="79" name="Picture 78" descr="A picture containing text, electronics, iPod&#10;&#10;Description automatically generated">
            <a:extLst>
              <a:ext uri="{FF2B5EF4-FFF2-40B4-BE49-F238E27FC236}">
                <a16:creationId xmlns:a16="http://schemas.microsoft.com/office/drawing/2014/main" id="{DC2EC45F-5570-FFB9-56D7-5C282D9F953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5762" y="2402813"/>
            <a:ext cx="1094026" cy="1078831"/>
          </a:xfrm>
          <a:prstGeom prst="rect">
            <a:avLst/>
          </a:prstGeom>
        </p:spPr>
      </p:pic>
      <p:sp>
        <p:nvSpPr>
          <p:cNvPr id="80" name="Right Triangle 79">
            <a:extLst>
              <a:ext uri="{FF2B5EF4-FFF2-40B4-BE49-F238E27FC236}">
                <a16:creationId xmlns:a16="http://schemas.microsoft.com/office/drawing/2014/main" id="{C3D2A026-E57A-99B1-3A71-AF24BC5A20DF}"/>
              </a:ext>
            </a:extLst>
          </p:cNvPr>
          <p:cNvSpPr/>
          <p:nvPr/>
        </p:nvSpPr>
        <p:spPr>
          <a:xfrm rot="5400000">
            <a:off x="470424" y="1773497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1" name="Graphic 80" descr="Target outline">
            <a:extLst>
              <a:ext uri="{FF2B5EF4-FFF2-40B4-BE49-F238E27FC236}">
                <a16:creationId xmlns:a16="http://schemas.microsoft.com/office/drawing/2014/main" id="{D829FF7D-E10C-400B-67BD-EB93F2A7B9C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16553" y="1705051"/>
            <a:ext cx="518669" cy="518669"/>
          </a:xfrm>
          <a:prstGeom prst="rect">
            <a:avLst/>
          </a:prstGeom>
        </p:spPr>
      </p:pic>
      <p:sp>
        <p:nvSpPr>
          <p:cNvPr id="82" name="Right Triangle 81">
            <a:extLst>
              <a:ext uri="{FF2B5EF4-FFF2-40B4-BE49-F238E27FC236}">
                <a16:creationId xmlns:a16="http://schemas.microsoft.com/office/drawing/2014/main" id="{41D12DF9-4258-FA91-F2FF-0466690570ED}"/>
              </a:ext>
            </a:extLst>
          </p:cNvPr>
          <p:cNvSpPr/>
          <p:nvPr/>
        </p:nvSpPr>
        <p:spPr>
          <a:xfrm rot="5400000">
            <a:off x="4323876" y="4332043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ight Triangle 82">
            <a:extLst>
              <a:ext uri="{FF2B5EF4-FFF2-40B4-BE49-F238E27FC236}">
                <a16:creationId xmlns:a16="http://schemas.microsoft.com/office/drawing/2014/main" id="{41101153-1FCE-2E0C-5B15-4380C99CEA27}"/>
              </a:ext>
            </a:extLst>
          </p:cNvPr>
          <p:cNvSpPr/>
          <p:nvPr/>
        </p:nvSpPr>
        <p:spPr>
          <a:xfrm rot="5400000">
            <a:off x="8271817" y="1773497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Right Triangle 83">
            <a:extLst>
              <a:ext uri="{FF2B5EF4-FFF2-40B4-BE49-F238E27FC236}">
                <a16:creationId xmlns:a16="http://schemas.microsoft.com/office/drawing/2014/main" id="{51CC5CB5-A551-C8D5-1CF0-51573D13CDDC}"/>
              </a:ext>
            </a:extLst>
          </p:cNvPr>
          <p:cNvSpPr/>
          <p:nvPr/>
        </p:nvSpPr>
        <p:spPr>
          <a:xfrm rot="5400000">
            <a:off x="4322967" y="1773497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Right Triangle 84">
            <a:extLst>
              <a:ext uri="{FF2B5EF4-FFF2-40B4-BE49-F238E27FC236}">
                <a16:creationId xmlns:a16="http://schemas.microsoft.com/office/drawing/2014/main" id="{C8324797-E410-66E7-037C-EC6D031629F3}"/>
              </a:ext>
            </a:extLst>
          </p:cNvPr>
          <p:cNvSpPr/>
          <p:nvPr/>
        </p:nvSpPr>
        <p:spPr>
          <a:xfrm rot="5400000">
            <a:off x="470424" y="4307274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6" name="Picture 16" descr="City outline">
            <a:extLst>
              <a:ext uri="{FF2B5EF4-FFF2-40B4-BE49-F238E27FC236}">
                <a16:creationId xmlns:a16="http://schemas.microsoft.com/office/drawing/2014/main" id="{FFB6C6EA-5772-9657-D8B2-DD81A5DEBFA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4420358" y="4259306"/>
            <a:ext cx="470016" cy="470016"/>
          </a:xfrm>
          <a:prstGeom prst="rect">
            <a:avLst/>
          </a:prstGeom>
        </p:spPr>
      </p:pic>
      <p:pic>
        <p:nvPicPr>
          <p:cNvPr id="87" name="Graphic 554">
            <a:extLst>
              <a:ext uri="{FF2B5EF4-FFF2-40B4-BE49-F238E27FC236}">
                <a16:creationId xmlns:a16="http://schemas.microsoft.com/office/drawing/2014/main" id="{BD773F50-B70F-EDC2-4E03-69945BB05580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b="21406"/>
          <a:stretch/>
        </p:blipFill>
        <p:spPr>
          <a:xfrm>
            <a:off x="8321600" y="1730854"/>
            <a:ext cx="445269" cy="433946"/>
          </a:xfrm>
          <a:prstGeom prst="rect">
            <a:avLst/>
          </a:prstGeom>
        </p:spPr>
      </p:pic>
      <p:pic>
        <p:nvPicPr>
          <p:cNvPr id="88" name="Graphic 87" descr="Globe outline">
            <a:extLst>
              <a:ext uri="{FF2B5EF4-FFF2-40B4-BE49-F238E27FC236}">
                <a16:creationId xmlns:a16="http://schemas.microsoft.com/office/drawing/2014/main" id="{FE4C18A6-77A0-C304-3375-42C25F755987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92530" y="4292608"/>
            <a:ext cx="416822" cy="416822"/>
          </a:xfrm>
          <a:prstGeom prst="rect">
            <a:avLst/>
          </a:prstGeom>
        </p:spPr>
      </p:pic>
      <p:pic>
        <p:nvPicPr>
          <p:cNvPr id="89" name="Graphic 88" descr="Stopwatch 25% outline">
            <a:extLst>
              <a:ext uri="{FF2B5EF4-FFF2-40B4-BE49-F238E27FC236}">
                <a16:creationId xmlns:a16="http://schemas.microsoft.com/office/drawing/2014/main" id="{138033BB-4241-F178-5D59-6A412246277F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333164" y="1755618"/>
            <a:ext cx="518668" cy="518668"/>
          </a:xfrm>
          <a:prstGeom prst="rect">
            <a:avLst/>
          </a:prstGeom>
        </p:spPr>
      </p:pic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166DE7D2-6C7E-66BA-D2C0-BEB0971B463A}"/>
              </a:ext>
            </a:extLst>
          </p:cNvPr>
          <p:cNvSpPr txBox="1">
            <a:spLocks/>
          </p:cNvSpPr>
          <p:nvPr/>
        </p:nvSpPr>
        <p:spPr>
          <a:xfrm>
            <a:off x="8323085" y="4417156"/>
            <a:ext cx="3587060" cy="56477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3429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61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800+</a:t>
            </a:r>
          </a:p>
          <a:p>
            <a:pPr marL="0" marR="0" lvl="0" indent="0" algn="ctr" defTabSz="609615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39132"/>
              </a:buClr>
              <a:buSzPct val="95000"/>
              <a:buFont typeface="Calibri" panose="020F0502020204030204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Calibri" panose="020F0502020204030204" pitchFamily="34" charset="0"/>
              </a:rPr>
              <a:t>Employés</a:t>
            </a:r>
          </a:p>
        </p:txBody>
      </p:sp>
      <p:pic>
        <p:nvPicPr>
          <p:cNvPr id="91" name="Picture 2" descr="Careers - SirionLabs">
            <a:extLst>
              <a:ext uri="{FF2B5EF4-FFF2-40B4-BE49-F238E27FC236}">
                <a16:creationId xmlns:a16="http://schemas.microsoft.com/office/drawing/2014/main" id="{31A5CE06-EC99-6905-D616-51096FA293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4934" y="5363068"/>
            <a:ext cx="411081" cy="695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Card 48">
            <a:extLst>
              <a:ext uri="{FF2B5EF4-FFF2-40B4-BE49-F238E27FC236}">
                <a16:creationId xmlns:a16="http://schemas.microsoft.com/office/drawing/2014/main" id="{20F12EB5-0F46-A9D7-167A-FCC95BFEF1C0}"/>
              </a:ext>
            </a:extLst>
          </p:cNvPr>
          <p:cNvSpPr/>
          <p:nvPr/>
        </p:nvSpPr>
        <p:spPr>
          <a:xfrm>
            <a:off x="8323085" y="4263444"/>
            <a:ext cx="3587061" cy="1922070"/>
          </a:xfrm>
          <a:prstGeom prst="flowChartPunchedCard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ight Triangle 92">
            <a:extLst>
              <a:ext uri="{FF2B5EF4-FFF2-40B4-BE49-F238E27FC236}">
                <a16:creationId xmlns:a16="http://schemas.microsoft.com/office/drawing/2014/main" id="{79972A6B-08B2-363F-4A58-732159EA628A}"/>
              </a:ext>
            </a:extLst>
          </p:cNvPr>
          <p:cNvSpPr/>
          <p:nvPr/>
        </p:nvSpPr>
        <p:spPr>
          <a:xfrm rot="5400000">
            <a:off x="8274661" y="4303543"/>
            <a:ext cx="964237" cy="870358"/>
          </a:xfrm>
          <a:prstGeom prst="rtTriangle">
            <a:avLst/>
          </a:prstGeom>
          <a:solidFill>
            <a:srgbClr val="51C2E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4" name="Graphic 554" descr="Customer review outline">
            <a:extLst>
              <a:ext uri="{FF2B5EF4-FFF2-40B4-BE49-F238E27FC236}">
                <a16:creationId xmlns:a16="http://schemas.microsoft.com/office/drawing/2014/main" id="{C468F49A-DDC3-E4BD-3085-7DBA0559260D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 t="1271" b="1271"/>
          <a:stretch/>
        </p:blipFill>
        <p:spPr>
          <a:xfrm>
            <a:off x="8320174" y="4281781"/>
            <a:ext cx="445269" cy="433946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C9D22399-1B72-34D9-8441-EA5B587D9403}"/>
              </a:ext>
            </a:extLst>
          </p:cNvPr>
          <p:cNvSpPr/>
          <p:nvPr/>
        </p:nvSpPr>
        <p:spPr>
          <a:xfrm>
            <a:off x="8558740" y="5381394"/>
            <a:ext cx="186764" cy="506713"/>
          </a:xfrm>
          <a:prstGeom prst="rect">
            <a:avLst/>
          </a:prstGeom>
          <a:solidFill>
            <a:srgbClr val="13C7A3"/>
          </a:solidFill>
          <a:ln w="9525" cap="flat" cmpd="sng" algn="ctr">
            <a:noFill/>
            <a:prstDash val="solid"/>
          </a:ln>
          <a:effectLst/>
        </p:spPr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9C931CC-B62F-7FAF-9D88-7725E3E5B09C}"/>
              </a:ext>
            </a:extLst>
          </p:cNvPr>
          <p:cNvSpPr/>
          <p:nvPr/>
        </p:nvSpPr>
        <p:spPr>
          <a:xfrm>
            <a:off x="8757860" y="5381394"/>
            <a:ext cx="748017" cy="50671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ellen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ath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versity</a:t>
            </a:r>
          </a:p>
        </p:txBody>
      </p:sp>
      <p:pic>
        <p:nvPicPr>
          <p:cNvPr id="97" name="Picture 96" descr="Shape, square&#10;&#10;Description automatically generated">
            <a:extLst>
              <a:ext uri="{FF2B5EF4-FFF2-40B4-BE49-F238E27FC236}">
                <a16:creationId xmlns:a16="http://schemas.microsoft.com/office/drawing/2014/main" id="{7251BC75-DD5E-ED76-C204-313D8E0E0096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7658" y="2910671"/>
            <a:ext cx="523697" cy="518669"/>
          </a:xfrm>
          <a:prstGeom prst="rect">
            <a:avLst/>
          </a:prstGeom>
        </p:spPr>
      </p:pic>
      <p:pic>
        <p:nvPicPr>
          <p:cNvPr id="98" name="Picture 9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881B5B1-13ED-0485-F654-E642148C7180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2872" y="2933951"/>
            <a:ext cx="476959" cy="471245"/>
          </a:xfrm>
          <a:prstGeom prst="rect">
            <a:avLst/>
          </a:prstGeom>
        </p:spPr>
      </p:pic>
      <p:pic>
        <p:nvPicPr>
          <p:cNvPr id="99" name="Picture 98" descr="Shape, square&#10;&#10;Description automatically generated">
            <a:extLst>
              <a:ext uri="{FF2B5EF4-FFF2-40B4-BE49-F238E27FC236}">
                <a16:creationId xmlns:a16="http://schemas.microsoft.com/office/drawing/2014/main" id="{E25F75E9-3057-EC54-AB51-D4D504FC4424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6312" y="2910671"/>
            <a:ext cx="523697" cy="518669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F6FD5FEC-A1E9-141A-F8CE-7F058743BD9D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232153" y="2941390"/>
            <a:ext cx="453902" cy="453902"/>
          </a:xfrm>
          <a:prstGeom prst="rect">
            <a:avLst/>
          </a:prstGeom>
        </p:spPr>
      </p:pic>
      <p:pic>
        <p:nvPicPr>
          <p:cNvPr id="101" name="Picture 100" descr="Shape, square&#10;&#10;Description automatically generated">
            <a:extLst>
              <a:ext uri="{FF2B5EF4-FFF2-40B4-BE49-F238E27FC236}">
                <a16:creationId xmlns:a16="http://schemas.microsoft.com/office/drawing/2014/main" id="{6987C63A-33F9-A6A3-085E-1F6890EBBBE3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965" y="2910671"/>
            <a:ext cx="523697" cy="518669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663C781C-E8D8-1BC3-626F-284F78C82441}"/>
              </a:ext>
            </a:extLst>
          </p:cNvPr>
          <p:cNvPicPr>
            <a:picLocks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913097" y="2933952"/>
            <a:ext cx="469433" cy="471245"/>
          </a:xfrm>
          <a:prstGeom prst="rect">
            <a:avLst/>
          </a:prstGeom>
        </p:spPr>
      </p:pic>
      <p:pic>
        <p:nvPicPr>
          <p:cNvPr id="103" name="Picture 102" descr="Shape, square&#10;&#10;Description automatically generated">
            <a:extLst>
              <a:ext uri="{FF2B5EF4-FFF2-40B4-BE49-F238E27FC236}">
                <a16:creationId xmlns:a16="http://schemas.microsoft.com/office/drawing/2014/main" id="{BD2B06F2-EDBE-D984-2FD0-F73D3E3BF218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3618" y="2910671"/>
            <a:ext cx="523697" cy="518669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919C9849-AAF2-492E-D977-410BA4CFC217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603471" y="2954645"/>
            <a:ext cx="465702" cy="434996"/>
          </a:xfrm>
          <a:prstGeom prst="rect">
            <a:avLst/>
          </a:prstGeom>
        </p:spPr>
      </p:pic>
      <p:pic>
        <p:nvPicPr>
          <p:cNvPr id="105" name="Picture 104" descr="Shape, square&#10;&#10;Description automatically generated">
            <a:extLst>
              <a:ext uri="{FF2B5EF4-FFF2-40B4-BE49-F238E27FC236}">
                <a16:creationId xmlns:a16="http://schemas.microsoft.com/office/drawing/2014/main" id="{A02BD092-C98D-C411-D824-0329512C0E3A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7794" y="2910671"/>
            <a:ext cx="523697" cy="518669"/>
          </a:xfrm>
          <a:prstGeom prst="rect">
            <a:avLst/>
          </a:prstGeom>
        </p:spPr>
      </p:pic>
      <p:pic>
        <p:nvPicPr>
          <p:cNvPr id="106" name="Graphic 110">
            <a:extLst>
              <a:ext uri="{FF2B5EF4-FFF2-40B4-BE49-F238E27FC236}">
                <a16:creationId xmlns:a16="http://schemas.microsoft.com/office/drawing/2014/main" id="{915F3872-FA27-10E5-4CEE-90DCFC02236E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7647" y="2933951"/>
            <a:ext cx="465702" cy="471245"/>
          </a:xfrm>
          <a:prstGeom prst="rect">
            <a:avLst/>
          </a:prstGeom>
        </p:spPr>
      </p:pic>
      <p:grpSp>
        <p:nvGrpSpPr>
          <p:cNvPr id="107" name="Group 106">
            <a:extLst>
              <a:ext uri="{FF2B5EF4-FFF2-40B4-BE49-F238E27FC236}">
                <a16:creationId xmlns:a16="http://schemas.microsoft.com/office/drawing/2014/main" id="{72F40023-1BE9-0DA3-C435-80C038B001B7}"/>
              </a:ext>
            </a:extLst>
          </p:cNvPr>
          <p:cNvGrpSpPr/>
          <p:nvPr/>
        </p:nvGrpSpPr>
        <p:grpSpPr>
          <a:xfrm>
            <a:off x="10715072" y="5451956"/>
            <a:ext cx="1072921" cy="382808"/>
            <a:chOff x="10287504" y="5026546"/>
            <a:chExt cx="1072921" cy="382808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8A14FFD-3572-F6C1-5BE4-796BBE865E13}"/>
                </a:ext>
              </a:extLst>
            </p:cNvPr>
            <p:cNvSpPr/>
            <p:nvPr/>
          </p:nvSpPr>
          <p:spPr>
            <a:xfrm>
              <a:off x="10287504" y="5034971"/>
              <a:ext cx="1072921" cy="374383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B7AA084-6B88-5E24-C100-348312F2C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BEBA8EAE-BF5A-486C-A8C5-ECC9F3942E4B}">
                  <a14:imgProps xmlns:a14="http://schemas.microsoft.com/office/drawing/2010/main">
                    <a14:imgLayer r:embed="rId38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300810" y="5026546"/>
              <a:ext cx="1059425" cy="367267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6001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FF0E93F1-A75A-4BE9-E622-9E1DD8D1BDB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-28481" y="1447613"/>
            <a:ext cx="12248962" cy="4845121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347A0B42-D375-51BF-4FD6-DD45858BE0CB}"/>
              </a:ext>
            </a:extLst>
          </p:cNvPr>
          <p:cNvSpPr/>
          <p:nvPr/>
        </p:nvSpPr>
        <p:spPr>
          <a:xfrm>
            <a:off x="8255397" y="1465036"/>
            <a:ext cx="45719" cy="4578318"/>
          </a:xfrm>
          <a:prstGeom prst="rect">
            <a:avLst/>
          </a:prstGeom>
          <a:solidFill>
            <a:schemeClr val="accent1"/>
          </a:solidFill>
          <a:ln w="15875" cap="flat" cmpd="sng" algn="ctr">
            <a:gradFill>
              <a:gsLst>
                <a:gs pos="0">
                  <a:srgbClr val="13C7A3"/>
                </a:gs>
                <a:gs pos="100000">
                  <a:srgbClr val="51C2E9"/>
                </a:gs>
              </a:gsLst>
              <a:lin ang="5400000" scaled="1"/>
            </a:gradFill>
            <a:prstDash val="solid"/>
            <a:miter lim="800000"/>
            <a:headEnd type="none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 Unicode MS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50886D8-EC34-8FB4-C35F-F832CC5B4C9B}"/>
              </a:ext>
            </a:extLst>
          </p:cNvPr>
          <p:cNvSpPr txBox="1"/>
          <p:nvPr/>
        </p:nvSpPr>
        <p:spPr>
          <a:xfrm>
            <a:off x="150380" y="2831102"/>
            <a:ext cx="3581123" cy="2554545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+36K contrats existants digitalisé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+7K contrats rédigés chaque moi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65-70% de réduction du temps nécessaire à la création de nou</a:t>
            </a: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veaux contra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Conformité réglementaire</a:t>
            </a:r>
            <a:endParaRPr kumimoji="0" lang="fr-FR" sz="1500" b="0" i="0" u="none" strike="noStrike" kern="1200" cap="none" spc="0" normalizeH="0" baseline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cs typeface="Calibri" panose="020F050202020403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  <a:hlinkClick r:id="rId4"/>
              </a:rPr>
              <a:t>https://www.sirionlabs.com/webinars/raiffeisen-banks-global-contracting-excellence-journey-with-sirionlabs</a:t>
            </a: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 </a:t>
            </a:r>
            <a:endParaRPr kumimoji="0" lang="fr-FR" sz="1500" b="0" i="0" u="none" strike="noStrike" kern="1200" cap="none" spc="0" normalizeH="0" baseline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47DB194-D391-F274-66D3-0ECCB094DDFD}"/>
              </a:ext>
            </a:extLst>
          </p:cNvPr>
          <p:cNvSpPr txBox="1"/>
          <p:nvPr/>
        </p:nvSpPr>
        <p:spPr>
          <a:xfrm>
            <a:off x="4221280" y="2831102"/>
            <a:ext cx="4023415" cy="2862322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+80K contrats existants digitalisés </a:t>
            </a: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/ +100 obligations extraites par contra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+3K contrats rédigés chaque mo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500" dirty="0">
                <a:solidFill>
                  <a:srgbClr val="000000">
                    <a:lumMod val="75000"/>
                    <a:lumOff val="25000"/>
                  </a:srgbClr>
                </a:solidFill>
                <a:cs typeface="Calibri" panose="020F0502020204030204" pitchFamily="34" charset="0"/>
              </a:rPr>
              <a:t>+</a:t>
            </a: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25K Obligations/SLA géré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+360$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Mn </a:t>
            </a: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d'économ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-90% des réclamations fournisseurs en 36 mois</a:t>
            </a:r>
            <a:endParaRPr kumimoji="0" lang="fr-FR" altLang="ko-KR" sz="1500" b="0" i="0" u="none" strike="noStrike" kern="1200" cap="none" spc="0" normalizeH="0" baseline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ea typeface="맑은 고딕" panose="020B0503020000020004" pitchFamily="34" charset="-127"/>
              <a:cs typeface="Calibri" panose="020F050202020403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맑은 고딕" panose="020B0503020000020004" pitchFamily="34" charset="-127"/>
                <a:cs typeface="Calibri" panose="020F0502020204030204" pitchFamily="34" charset="0"/>
                <a:hlinkClick r:id="rId5"/>
              </a:rPr>
              <a:t>https://www.sirionlabs.com/webinars/digital-transformation-of-commercial-contract-management-vodafone-story</a:t>
            </a: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맑은 고딕" panose="020B0503020000020004" pitchFamily="34" charset="-127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1AE7520E-69EF-403A-4646-C072482DC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0941" y="1797617"/>
            <a:ext cx="2311398" cy="461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D2E66166-AAC8-8E61-4DFE-C63A283859E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5479" y="1578449"/>
            <a:ext cx="1251384" cy="900000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D9647920-5CC5-6F4D-8352-AE8D8C545A32}"/>
              </a:ext>
            </a:extLst>
          </p:cNvPr>
          <p:cNvSpPr/>
          <p:nvPr/>
        </p:nvSpPr>
        <p:spPr>
          <a:xfrm>
            <a:off x="3907164" y="1465035"/>
            <a:ext cx="45719" cy="4578318"/>
          </a:xfrm>
          <a:prstGeom prst="rect">
            <a:avLst/>
          </a:prstGeom>
          <a:solidFill>
            <a:schemeClr val="accent1"/>
          </a:solidFill>
          <a:ln w="15875" cap="flat" cmpd="sng" algn="ctr">
            <a:gradFill>
              <a:gsLst>
                <a:gs pos="0">
                  <a:srgbClr val="13C7A3"/>
                </a:gs>
                <a:gs pos="100000">
                  <a:srgbClr val="51C2E9"/>
                </a:gs>
              </a:gsLst>
              <a:lin ang="5400000" scaled="1"/>
            </a:gradFill>
            <a:prstDash val="solid"/>
            <a:miter lim="800000"/>
            <a:headEnd type="none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 Unicode MS"/>
              <a:cs typeface="+mn-cs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99F92BF6-3526-5B0A-7678-5243D96503B3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E7EA747E-342A-5A45-D537-0998B03DF5D1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1A6078A-3F4F-AD8A-BA5E-5DC5FAF51286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8B4A482-A74A-BC23-2EF8-11FB0F528B66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fr-FR" sz="1867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9410F86-465F-17E8-0A8E-D272C7AEBC61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0" i="0" u="none" strike="noStrike" kern="800" cap="none" spc="-13" normalizeH="0" baseline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ngible ROI </a:t>
            </a:r>
            <a:r>
              <a:rPr kumimoji="0" lang="fr-FR" sz="2800" b="0" i="0" u="none" strike="noStrike" kern="800" cap="none" spc="-13" normalizeH="0" baseline="0" dirty="0" err="1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yond</a:t>
            </a:r>
            <a:r>
              <a:rPr kumimoji="0" lang="fr-FR" sz="2800" b="0" i="0" u="none" strike="noStrike" kern="800" cap="none" spc="-13" normalizeH="0" baseline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2800" b="0" i="0" u="none" strike="noStrike" kern="800" cap="none" spc="-13" normalizeH="0" baseline="0" dirty="0" err="1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iciency</a:t>
            </a:r>
            <a:r>
              <a:rPr kumimoji="0" lang="fr-FR" sz="2800" b="0" i="0" u="none" strike="noStrike" kern="800" cap="none" spc="-13" normalizeH="0" baseline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Risk Mitig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EBAE30-E469-E059-0051-463D0D0D9985}"/>
              </a:ext>
            </a:extLst>
          </p:cNvPr>
          <p:cNvSpPr txBox="1"/>
          <p:nvPr/>
        </p:nvSpPr>
        <p:spPr>
          <a:xfrm>
            <a:off x="8570618" y="2831102"/>
            <a:ext cx="3323409" cy="2477601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</a:rPr>
              <a:t>+100 fournisseurs stratégiques géré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</a:rPr>
              <a:t>1,2K SLA géré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fr-F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 panose="020F0502020204030204" pitchFamily="34" charset="0"/>
              </a:rPr>
              <a:t>+8,8$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Mn </a:t>
            </a: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</a:rPr>
              <a:t>de fuites de valeur - Erreurs de facturation </a:t>
            </a:r>
            <a:r>
              <a:rPr lang="fr-FR" altLang="ko-KR" sz="1500" dirty="0">
                <a:solidFill>
                  <a:srgbClr val="000000">
                    <a:lumMod val="75000"/>
                    <a:lumOff val="25000"/>
                  </a:srgbClr>
                </a:solidFill>
                <a:ea typeface="Arial Unicode MS"/>
                <a:cs typeface="Calibri" panose="020F0502020204030204" pitchFamily="34" charset="0"/>
              </a:rPr>
              <a:t>/ C</a:t>
            </a: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</a:rPr>
              <a:t>onformité contractuelle.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  <a:hlinkClick r:id="rId8"/>
              </a:rPr>
              <a:t>https://www.sirionlabs.com/webinars/rcd-how-bny-mellon-is-building-a-value-driven-procurement-organization</a:t>
            </a:r>
            <a:r>
              <a:rPr kumimoji="0" lang="fr-FR" altLang="ko-KR" sz="1500" b="0" i="0" u="none" strike="noStrike" kern="1200" cap="none" spc="0" normalizeH="0" baseline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Arial Unicode MS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5" name="Picture 2" descr="Image result for BNYM logo transparent">
            <a:extLst>
              <a:ext uri="{FF2B5EF4-FFF2-40B4-BE49-F238E27FC236}">
                <a16:creationId xmlns:a16="http://schemas.microsoft.com/office/drawing/2014/main" id="{31A54534-FCE3-C911-AA4A-C2419AF90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69240" y="1549112"/>
            <a:ext cx="1709603" cy="95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784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FF8DEF63-8E15-1F43-BF82-62C7EE134766}"/>
              </a:ext>
            </a:extLst>
          </p:cNvPr>
          <p:cNvSpPr/>
          <p:nvPr/>
        </p:nvSpPr>
        <p:spPr>
          <a:xfrm>
            <a:off x="337910" y="194378"/>
            <a:ext cx="10610828" cy="553998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800" cap="none" spc="-13" normalizeH="0" baseline="0" noProof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nstratio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CA78464-7EE0-4EBA-B81D-67BA0A7E5A5D}"/>
              </a:ext>
            </a:extLst>
          </p:cNvPr>
          <p:cNvGrpSpPr/>
          <p:nvPr/>
        </p:nvGrpSpPr>
        <p:grpSpPr>
          <a:xfrm>
            <a:off x="361379" y="705569"/>
            <a:ext cx="2654299" cy="84667"/>
            <a:chOff x="0" y="0"/>
            <a:chExt cx="1990846" cy="63661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586E116-B52C-4C05-932F-39B71195071F}"/>
                </a:ext>
              </a:extLst>
            </p:cNvPr>
            <p:cNvSpPr/>
            <p:nvPr userDrawn="1"/>
          </p:nvSpPr>
          <p:spPr>
            <a:xfrm>
              <a:off x="0" y="0"/>
              <a:ext cx="653415" cy="63500"/>
            </a:xfrm>
            <a:prstGeom prst="rect">
              <a:avLst/>
            </a:prstGeom>
            <a:solidFill>
              <a:srgbClr val="5AA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E10CDF3-DF17-48EC-B145-35B0E525F8B4}"/>
                </a:ext>
              </a:extLst>
            </p:cNvPr>
            <p:cNvSpPr/>
            <p:nvPr userDrawn="1"/>
          </p:nvSpPr>
          <p:spPr>
            <a:xfrm>
              <a:off x="671331" y="0"/>
              <a:ext cx="653415" cy="635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349008B-F92F-4ED6-A81E-433857DA59C5}"/>
                </a:ext>
              </a:extLst>
            </p:cNvPr>
            <p:cNvSpPr/>
            <p:nvPr userDrawn="1"/>
          </p:nvSpPr>
          <p:spPr>
            <a:xfrm>
              <a:off x="1336876" y="0"/>
              <a:ext cx="653970" cy="63661"/>
            </a:xfrm>
            <a:prstGeom prst="rect">
              <a:avLst/>
            </a:prstGeom>
            <a:solidFill>
              <a:srgbClr val="1E6D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IN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7167BEF4-1FED-54E8-3662-5E63711939CB}"/>
              </a:ext>
            </a:extLst>
          </p:cNvPr>
          <p:cNvSpPr/>
          <p:nvPr/>
        </p:nvSpPr>
        <p:spPr>
          <a:xfrm>
            <a:off x="5034185" y="2806688"/>
            <a:ext cx="3341234" cy="321996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3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9FC594-9D78-AE2C-2916-77B1843ABBE8}"/>
              </a:ext>
            </a:extLst>
          </p:cNvPr>
          <p:cNvGrpSpPr>
            <a:grpSpLocks noChangeAspect="1"/>
          </p:cNvGrpSpPr>
          <p:nvPr/>
        </p:nvGrpSpPr>
        <p:grpSpPr>
          <a:xfrm>
            <a:off x="3759390" y="2103401"/>
            <a:ext cx="4638330" cy="4607496"/>
            <a:chOff x="7491943" y="1921912"/>
            <a:chExt cx="3639663" cy="361546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99F6C2A-652B-6C49-DF9D-7C7038EEE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91943" y="1921912"/>
              <a:ext cx="3639663" cy="361546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564205D-D702-DD8D-D07C-12FDA51EC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4693" y="2216821"/>
              <a:ext cx="3034160" cy="299751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C67F89D-C8A0-4965-16D0-FF70767D9D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55831" y="2231152"/>
              <a:ext cx="2528512" cy="1498878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BF278B1-9CA6-4E1D-A6E3-2FCFCBDE7B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55" b="-2598"/>
            <a:stretch/>
          </p:blipFill>
          <p:spPr>
            <a:xfrm rot="21324479">
              <a:off x="8848463" y="3641051"/>
              <a:ext cx="1993456" cy="152817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925B9A-B68C-D833-CB43-5A666A7775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3900" y="3097941"/>
              <a:ext cx="2371051" cy="2083235"/>
            </a:xfrm>
            <a:prstGeom prst="rect">
              <a:avLst/>
            </a:prstGeom>
          </p:spPr>
        </p:pic>
      </p:grpSp>
      <p:sp>
        <p:nvSpPr>
          <p:cNvPr id="19" name="Rectangular Callout 19">
            <a:extLst>
              <a:ext uri="{FF2B5EF4-FFF2-40B4-BE49-F238E27FC236}">
                <a16:creationId xmlns:a16="http://schemas.microsoft.com/office/drawing/2014/main" id="{5495507B-9698-E4B2-B4C7-9A71302C6479}"/>
              </a:ext>
            </a:extLst>
          </p:cNvPr>
          <p:cNvSpPr/>
          <p:nvPr/>
        </p:nvSpPr>
        <p:spPr>
          <a:xfrm>
            <a:off x="2490757" y="4834128"/>
            <a:ext cx="1964518" cy="935933"/>
          </a:xfrm>
          <a:prstGeom prst="wedgeRectCallout">
            <a:avLst>
              <a:gd name="adj1" fmla="val -49814"/>
              <a:gd name="adj2" fmla="val -14250"/>
            </a:avLst>
          </a:prstGeom>
          <a:solidFill>
            <a:srgbClr val="1AA5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FFFF"/>
                </a:solidFill>
                <a:latin typeface="Calibri" panose="020F0502020204030204"/>
              </a:rPr>
              <a:t>Governance of the Executed Agreement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Rectangular Callout 19">
            <a:extLst>
              <a:ext uri="{FF2B5EF4-FFF2-40B4-BE49-F238E27FC236}">
                <a16:creationId xmlns:a16="http://schemas.microsoft.com/office/drawing/2014/main" id="{1C6CFFA9-0A69-9D31-637F-714419DC03DD}"/>
              </a:ext>
            </a:extLst>
          </p:cNvPr>
          <p:cNvSpPr/>
          <p:nvPr/>
        </p:nvSpPr>
        <p:spPr>
          <a:xfrm>
            <a:off x="7640800" y="4834128"/>
            <a:ext cx="2060443" cy="938095"/>
          </a:xfrm>
          <a:prstGeom prst="wedgeRectCallout">
            <a:avLst>
              <a:gd name="adj1" fmla="val -49814"/>
              <a:gd name="adj2" fmla="val -14250"/>
            </a:avLst>
          </a:prstGeom>
          <a:solidFill>
            <a:srgbClr val="1AA5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</a:t>
            </a:r>
          </a:p>
          <a:p>
            <a:pPr algn="ctr">
              <a:defRPr/>
            </a:pPr>
            <a:r>
              <a:rPr lang="en-US" sz="1400" dirty="0"/>
              <a:t>Create new Contract</a:t>
            </a:r>
            <a:endParaRPr lang="en-US" sz="1400" kern="0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2" name="Rectangular Callout 19">
            <a:extLst>
              <a:ext uri="{FF2B5EF4-FFF2-40B4-BE49-F238E27FC236}">
                <a16:creationId xmlns:a16="http://schemas.microsoft.com/office/drawing/2014/main" id="{07D49F20-7A49-C178-58FD-47859236C5CF}"/>
              </a:ext>
            </a:extLst>
          </p:cNvPr>
          <p:cNvSpPr/>
          <p:nvPr/>
        </p:nvSpPr>
        <p:spPr>
          <a:xfrm>
            <a:off x="5014973" y="1707587"/>
            <a:ext cx="2324720" cy="1046003"/>
          </a:xfrm>
          <a:prstGeom prst="wedgeRectCallout">
            <a:avLst>
              <a:gd name="adj1" fmla="val -49814"/>
              <a:gd name="adj2" fmla="val -14250"/>
            </a:avLst>
          </a:prstGeom>
          <a:solidFill>
            <a:srgbClr val="1AA5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Brings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Executed Contracts to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Lif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C3A894F-1718-6679-AE41-09EDF811F10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35"/>
          <a:stretch/>
        </p:blipFill>
        <p:spPr>
          <a:xfrm>
            <a:off x="4117625" y="31159"/>
            <a:ext cx="3763297" cy="18735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9E966AF-2C78-3C7F-36A5-345F95BFC77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" t="8965" r="-1" b="10114"/>
          <a:stretch/>
        </p:blipFill>
        <p:spPr>
          <a:xfrm>
            <a:off x="-745876" y="4120430"/>
            <a:ext cx="3359390" cy="23318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BA21235-9AC4-1E90-4BCE-E383D0B42E9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490" t="5278"/>
          <a:stretch/>
        </p:blipFill>
        <p:spPr>
          <a:xfrm>
            <a:off x="9619969" y="4139985"/>
            <a:ext cx="3890678" cy="23122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4208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55EBC79-755A-9142-974C-9609834FF4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41" r="12580"/>
          <a:stretch/>
        </p:blipFill>
        <p:spPr bwMode="auto">
          <a:xfrm>
            <a:off x="3990934" y="0"/>
            <a:ext cx="8201066" cy="685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E7E8032-4EA0-4542-96D3-7BA53DB312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96391" y="158996"/>
            <a:ext cx="2683607" cy="8996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59D2B2D-D836-4DCD-8216-723D788F4BA1}"/>
              </a:ext>
            </a:extLst>
          </p:cNvPr>
          <p:cNvSpPr txBox="1"/>
          <p:nvPr/>
        </p:nvSpPr>
        <p:spPr>
          <a:xfrm>
            <a:off x="194133" y="2266469"/>
            <a:ext cx="668266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1" i="0" u="none" strike="noStrike" kern="1200" cap="none" spc="0" normalizeH="0" baseline="0" noProof="0" dirty="0">
                <a:ln>
                  <a:noFill/>
                </a:ln>
                <a:solidFill>
                  <a:srgbClr val="146D8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C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4400" b="1" dirty="0">
                <a:solidFill>
                  <a:srgbClr val="146D86"/>
                </a:solidFill>
                <a:latin typeface="Calibri" panose="020F0502020204030204"/>
              </a:rPr>
              <a:t>Pour votre participation</a:t>
            </a:r>
            <a:endParaRPr kumimoji="0" lang="en-IN" sz="4000" b="1" i="0" u="none" strike="noStrike" kern="1200" cap="none" spc="0" normalizeH="0" baseline="0" noProof="0" dirty="0">
              <a:ln>
                <a:noFill/>
              </a:ln>
              <a:solidFill>
                <a:srgbClr val="146D8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2F2B556-EE0D-68DB-9F23-AEA3336A16B9}"/>
              </a:ext>
            </a:extLst>
          </p:cNvPr>
          <p:cNvSpPr txBox="1">
            <a:spLocks/>
          </p:cNvSpPr>
          <p:nvPr/>
        </p:nvSpPr>
        <p:spPr>
          <a:xfrm>
            <a:off x="1195785" y="4959709"/>
            <a:ext cx="1425959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667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1C3C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-13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SirionLabs</a:t>
            </a:r>
            <a:endParaRPr kumimoji="0" lang="en-US" sz="1400" b="0" i="0" u="none" strike="noStrike" kern="800" cap="none" spc="-13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C5341350-C520-1016-1932-5B557E4EDED0}"/>
              </a:ext>
            </a:extLst>
          </p:cNvPr>
          <p:cNvSpPr txBox="1">
            <a:spLocks/>
          </p:cNvSpPr>
          <p:nvPr/>
        </p:nvSpPr>
        <p:spPr>
          <a:xfrm>
            <a:off x="1231306" y="6245301"/>
            <a:ext cx="1732257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667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1C3C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-13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rionlabs.com​</a:t>
            </a:r>
            <a:endParaRPr kumimoji="0" lang="en-US" sz="1400" b="0" i="0" u="none" strike="noStrike" kern="800" cap="none" spc="-13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F9DF0CBB-A839-B268-CD78-242AD8211C62}"/>
              </a:ext>
            </a:extLst>
          </p:cNvPr>
          <p:cNvSpPr txBox="1">
            <a:spLocks/>
          </p:cNvSpPr>
          <p:nvPr/>
        </p:nvSpPr>
        <p:spPr>
          <a:xfrm>
            <a:off x="1175023" y="5578287"/>
            <a:ext cx="2848337" cy="307777"/>
          </a:xfrm>
          <a:prstGeom prst="rect">
            <a:avLst/>
          </a:prstGeom>
        </p:spPr>
        <p:txBody>
          <a:bodyPr wrap="square" lIns="90000" anchor="ctr">
            <a:sp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b="0" kern="800" spc="-13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667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133" b="1" kern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1C3C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800" cap="none" spc="-13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yrille.scuri@sirionlabs.com​</a:t>
            </a:r>
            <a:endParaRPr kumimoji="0" lang="en-US" sz="1400" b="0" i="0" u="none" strike="noStrike" kern="800" cap="none" spc="-13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Internet outline">
            <a:extLst>
              <a:ext uri="{FF2B5EF4-FFF2-40B4-BE49-F238E27FC236}">
                <a16:creationId xmlns:a16="http://schemas.microsoft.com/office/drawing/2014/main" id="{9C75589A-9A76-5359-0F59-DB8F8D23DC3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4368" y="6143612"/>
            <a:ext cx="511154" cy="511154"/>
          </a:xfrm>
          <a:prstGeom prst="rect">
            <a:avLst/>
          </a:prstGeom>
        </p:spPr>
      </p:pic>
      <p:pic>
        <p:nvPicPr>
          <p:cNvPr id="13" name="Graphic 12" descr="Email outline">
            <a:extLst>
              <a:ext uri="{FF2B5EF4-FFF2-40B4-BE49-F238E27FC236}">
                <a16:creationId xmlns:a16="http://schemas.microsoft.com/office/drawing/2014/main" id="{5CB7A7BE-8626-FC81-F944-7703C8F2F0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58888" y="5532243"/>
            <a:ext cx="409465" cy="409465"/>
          </a:xfrm>
          <a:prstGeom prst="rect">
            <a:avLst/>
          </a:prstGeom>
        </p:spPr>
      </p:pic>
      <p:pic>
        <p:nvPicPr>
          <p:cNvPr id="14" name="Picture 2" descr="Twitter Icon – Free Download, PNG and Vector">
            <a:extLst>
              <a:ext uri="{FF2B5EF4-FFF2-40B4-BE49-F238E27FC236}">
                <a16:creationId xmlns:a16="http://schemas.microsoft.com/office/drawing/2014/main" id="{CC1512E3-93C1-B843-46E8-E5C3A54F4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alphaModFix amt="6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131" y="4959709"/>
            <a:ext cx="363421" cy="363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3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8_SirionLabs Corporate PPT Template(1)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aining presentation" id="{9308F140-5CDC-477D-BC4D-9C1906451284}" vid="{11C5112C-663B-4E6D-9D3D-2361F8FA32D6}"/>
    </a:ext>
  </a:extLst>
</a:theme>
</file>

<file path=ppt/theme/theme10.xml><?xml version="1.0" encoding="utf-8"?>
<a:theme xmlns:a="http://schemas.openxmlformats.org/drawingml/2006/main" name="2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1.xml><?xml version="1.0" encoding="utf-8"?>
<a:theme xmlns:a="http://schemas.openxmlformats.org/drawingml/2006/main" name="3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4CB7BD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MAST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6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7.xml><?xml version="1.0" encoding="utf-8"?>
<a:theme xmlns:a="http://schemas.openxmlformats.org/drawingml/2006/main" name="7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4CB7BD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8.xml><?xml version="1.0" encoding="utf-8"?>
<a:theme xmlns:a="http://schemas.openxmlformats.org/drawingml/2006/main" name="8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Sirion">
      <a:dk1>
        <a:srgbClr val="57565A"/>
      </a:dk1>
      <a:lt1>
        <a:srgbClr val="FFFFFF"/>
      </a:lt1>
      <a:dk2>
        <a:srgbClr val="31697D"/>
      </a:dk2>
      <a:lt2>
        <a:srgbClr val="327880"/>
      </a:lt2>
      <a:accent1>
        <a:srgbClr val="4CC776"/>
      </a:accent1>
      <a:accent2>
        <a:srgbClr val="44C072"/>
      </a:accent2>
      <a:accent3>
        <a:srgbClr val="40B884"/>
      </a:accent3>
      <a:accent4>
        <a:srgbClr val="3CAE8C"/>
      </a:accent4>
      <a:accent5>
        <a:srgbClr val="379A87"/>
      </a:accent5>
      <a:accent6>
        <a:srgbClr val="328682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4CB7BD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4.xml><?xml version="1.0" encoding="utf-8"?>
<a:theme xmlns:a="http://schemas.openxmlformats.org/drawingml/2006/main" name="19_SirionLabs Corporate PPT Template(1)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aining presentation" id="{9308F140-5CDC-477D-BC4D-9C1906451284}" vid="{11C5112C-663B-4E6D-9D3D-2361F8FA32D6}"/>
    </a:ext>
  </a:extLst>
</a:theme>
</file>

<file path=ppt/theme/theme5.xml><?xml version="1.0" encoding="utf-8"?>
<a:theme xmlns:a="http://schemas.openxmlformats.org/drawingml/2006/main" name="1_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4CB7BD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6.xml><?xml version="1.0" encoding="utf-8"?>
<a:theme xmlns:a="http://schemas.openxmlformats.org/drawingml/2006/main" name="20_SirionLabs Corporate PPT Template(1)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aining presentation" id="{9308F140-5CDC-477D-BC4D-9C1906451284}" vid="{11C5112C-663B-4E6D-9D3D-2361F8FA32D6}"/>
    </a:ext>
  </a:extLst>
</a:theme>
</file>

<file path=ppt/theme/theme7.xml><?xml version="1.0" encoding="utf-8"?>
<a:theme xmlns:a="http://schemas.openxmlformats.org/drawingml/2006/main" name="4_Light_Sirion">
  <a:themeElements>
    <a:clrScheme name="Sirion New Branding">
      <a:dk1>
        <a:srgbClr val="000000"/>
      </a:dk1>
      <a:lt1>
        <a:srgbClr val="FFFFFF"/>
      </a:lt1>
      <a:dk2>
        <a:srgbClr val="323232"/>
      </a:dk2>
      <a:lt2>
        <a:srgbClr val="E3DED1"/>
      </a:lt2>
      <a:accent1>
        <a:srgbClr val="13C7A3"/>
      </a:accent1>
      <a:accent2>
        <a:srgbClr val="51C2E9"/>
      </a:accent2>
      <a:accent3>
        <a:srgbClr val="13C7A3"/>
      </a:accent3>
      <a:accent4>
        <a:srgbClr val="51C2E9"/>
      </a:accent4>
      <a:accent5>
        <a:srgbClr val="13C7A3"/>
      </a:accent5>
      <a:accent6>
        <a:srgbClr val="51C2E9"/>
      </a:accent6>
      <a:hlink>
        <a:srgbClr val="3165F1"/>
      </a:hlink>
      <a:folHlink>
        <a:srgbClr val="B26B0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ppt/theme/theme8.xml><?xml version="1.0" encoding="utf-8"?>
<a:theme xmlns:a="http://schemas.openxmlformats.org/drawingml/2006/main" name="1_SirionLabs Corporate PPT Template(1)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aining presentation" id="{9308F140-5CDC-477D-BC4D-9C1906451284}" vid="{11C5112C-663B-4E6D-9D3D-2361F8FA32D6}"/>
    </a:ext>
  </a:extLst>
</a:theme>
</file>

<file path=ppt/theme/theme9.xml><?xml version="1.0" encoding="utf-8"?>
<a:theme xmlns:a="http://schemas.openxmlformats.org/drawingml/2006/main" name="Light_Sirion">
  <a:themeElements>
    <a:clrScheme name="Sirion Teal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51C3CA"/>
      </a:accent1>
      <a:accent2>
        <a:srgbClr val="3CB2C3"/>
      </a:accent2>
      <a:accent3>
        <a:srgbClr val="1AA5BD"/>
      </a:accent3>
      <a:accent4>
        <a:srgbClr val="0097B7"/>
      </a:accent4>
      <a:accent5>
        <a:srgbClr val="0086AC"/>
      </a:accent5>
      <a:accent6>
        <a:srgbClr val="00759E"/>
      </a:accent6>
      <a:hlink>
        <a:srgbClr val="57555A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1_Light_Sirion_Template" id="{8B733AD5-B57F-4347-8467-A1863C56072A}" vid="{68AA2FCF-CE48-B249-B346-46718A046EA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629</Words>
  <Application>Microsoft Office PowerPoint</Application>
  <PresentationFormat>Widescreen</PresentationFormat>
  <Paragraphs>130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7" baseType="lpstr">
      <vt:lpstr>Arial</vt:lpstr>
      <vt:lpstr>Calibri</vt:lpstr>
      <vt:lpstr>Calibri Light</vt:lpstr>
      <vt:lpstr>Century Gothic</vt:lpstr>
      <vt:lpstr>Helvetica</vt:lpstr>
      <vt:lpstr>Myriad Pro</vt:lpstr>
      <vt:lpstr>Proxima Nova</vt:lpstr>
      <vt:lpstr>Proxima Nova Semibold</vt:lpstr>
      <vt:lpstr>Wingdings 2</vt:lpstr>
      <vt:lpstr>18_SirionLabs Corporate PPT Template(1)</vt:lpstr>
      <vt:lpstr>1_Office Theme</vt:lpstr>
      <vt:lpstr>Light_Sirion</vt:lpstr>
      <vt:lpstr>19_SirionLabs Corporate PPT Template(1)</vt:lpstr>
      <vt:lpstr>1_Light_Sirion</vt:lpstr>
      <vt:lpstr>20_SirionLabs Corporate PPT Template(1)</vt:lpstr>
      <vt:lpstr>4_Light_Sirion</vt:lpstr>
      <vt:lpstr>1_SirionLabs Corporate PPT Template(1)</vt:lpstr>
      <vt:lpstr>Light_Sirion</vt:lpstr>
      <vt:lpstr>2_Light_Sirion</vt:lpstr>
      <vt:lpstr>3_Light_Sirion</vt:lpstr>
      <vt:lpstr>1_Custom Design</vt:lpstr>
      <vt:lpstr>5_Light_Sirion</vt:lpstr>
      <vt:lpstr>Office Theme</vt:lpstr>
      <vt:lpstr>3_MASTER</vt:lpstr>
      <vt:lpstr>6_Light_Sirion</vt:lpstr>
      <vt:lpstr>7_Light_Sirion</vt:lpstr>
      <vt:lpstr>8_Light_Sirio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y Bankole Eudes</dc:creator>
  <cp:lastModifiedBy>Cyrille Scuri</cp:lastModifiedBy>
  <cp:revision>5</cp:revision>
  <dcterms:created xsi:type="dcterms:W3CDTF">2022-03-23T10:08:21Z</dcterms:created>
  <dcterms:modified xsi:type="dcterms:W3CDTF">2022-10-13T07:19:38Z</dcterms:modified>
</cp:coreProperties>
</file>